
<file path=[Content_Types].xml><?xml version="1.0" encoding="utf-8"?>
<Types xmlns="http://schemas.openxmlformats.org/package/2006/content-types">
  <Default Extension="bin" ContentType="application/vnd.openxmlformats-officedocument.oleObject"/>
  <Default Extension="gif" ContentType="image/gi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ppt/tags/tag6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1"/>
    <p:sldMasterId id="2147483654" r:id="rId2"/>
  </p:sldMasterIdLst>
  <p:notesMasterIdLst>
    <p:notesMasterId r:id="rId9"/>
  </p:notesMasterIdLst>
  <p:sldIdLst>
    <p:sldId id="256" r:id="rId3"/>
    <p:sldId id="257" r:id="rId4"/>
    <p:sldId id="570" r:id="rId5"/>
    <p:sldId id="571" r:id="rId6"/>
    <p:sldId id="572" r:id="rId7"/>
    <p:sldId id="573" r:id="rId8"/>
  </p:sldIdLst>
  <p:sldSz cx="12192000" cy="6858000"/>
  <p:notesSz cx="6858000" cy="91440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232" userDrawn="1">
          <p15:clr>
            <a:srgbClr val="A4A3A4"/>
          </p15:clr>
        </p15:guide>
        <p15:guide id="2" pos="2352" userDrawn="1">
          <p15:clr>
            <a:srgbClr val="A4A3A4"/>
          </p15:clr>
        </p15:guide>
      </p15:sldGuideLst>
    </p:ext>
    <p:ext uri="GoogleSlidesCustomDataVersion2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r:id="rId13" roundtripDataSignature="AMtx7mgHnMHIZxhnZr2j+tVR2DpQdbinhg==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gan Chiao" initials="MC" lastIdx="2" clrIdx="0">
    <p:extLst>
      <p:ext uri="{19B8F6BF-5375-455C-9EA6-DF929625EA0E}">
        <p15:presenceInfo xmlns:p15="http://schemas.microsoft.com/office/powerpoint/2012/main" userId="S::megan.chiao@regeneron.com::c9a2ff33-a85c-4343-870b-ef41e6221482" providerId="AD"/>
      </p:ext>
    </p:extLst>
  </p:cmAuthor>
  <p:cmAuthor id="2" name="Speri, Enrico" initials="SE" lastIdx="2" clrIdx="1">
    <p:extLst>
      <p:ext uri="{19B8F6BF-5375-455C-9EA6-DF929625EA0E}">
        <p15:presenceInfo xmlns:p15="http://schemas.microsoft.com/office/powerpoint/2012/main" userId="Speri, Enrico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AB32F"/>
    <a:srgbClr val="A2CD42"/>
    <a:srgbClr val="356FA2"/>
    <a:srgbClr val="00A1DE"/>
    <a:srgbClr val="89BCC5"/>
    <a:srgbClr val="B4D5DA"/>
    <a:srgbClr val="FFC1C2"/>
    <a:srgbClr val="CB97FF"/>
    <a:srgbClr val="5AA2AE"/>
    <a:srgbClr val="7F8FA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2397" autoAdjust="0"/>
    <p:restoredTop sz="87195" autoAdjust="0"/>
  </p:normalViewPr>
  <p:slideViewPr>
    <p:cSldViewPr snapToGrid="0">
      <p:cViewPr varScale="1">
        <p:scale>
          <a:sx n="57" d="100"/>
          <a:sy n="57" d="100"/>
        </p:scale>
        <p:origin x="78" y="72"/>
      </p:cViewPr>
      <p:guideLst>
        <p:guide orient="horz" pos="2232"/>
        <p:guide pos="235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customschemas.google.com/relationships/presentationmetadata" Target="metadata"/><Relationship Id="rId1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5" Type="http://schemas.openxmlformats.org/officeDocument/2006/relationships/slide" Target="slides/slide3.xml"/><Relationship Id="rId15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notesMaster" Target="notesMasters/notesMaster1.xml"/><Relationship Id="rId14" Type="http://schemas.openxmlformats.org/officeDocument/2006/relationships/commentAuthors" Target="comment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MX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Nº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Google Shape;81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2" name="Google Shape;82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Google Shape;88;p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9" name="Google Shape;8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5825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45826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/>
          </a:p>
        </p:txBody>
      </p:sp>
      <p:sp>
        <p:nvSpPr>
          <p:cNvPr id="845827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59B68C-5915-4D23-A2C6-5B96549FD7A0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6409613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5825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45826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/>
          </a:p>
        </p:txBody>
      </p:sp>
      <p:sp>
        <p:nvSpPr>
          <p:cNvPr id="845827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59B68C-5915-4D23-A2C6-5B96549FD7A0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1028881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5825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45826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/>
          </a:p>
        </p:txBody>
      </p:sp>
      <p:sp>
        <p:nvSpPr>
          <p:cNvPr id="845827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59B68C-5915-4D23-A2C6-5B96549FD7A0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2855959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5825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45826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/>
          </a:p>
        </p:txBody>
      </p:sp>
      <p:sp>
        <p:nvSpPr>
          <p:cNvPr id="845827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59B68C-5915-4D23-A2C6-5B96549FD7A0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542866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oleObject" Target="../embeddings/oleObject1.bin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 type="title">
  <p:cSld name="TITLE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7"/>
          <p:cNvSpPr/>
          <p:nvPr/>
        </p:nvSpPr>
        <p:spPr>
          <a:xfrm>
            <a:off x="1" y="6400800"/>
            <a:ext cx="12192000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" name="Google Shape;19;p7"/>
          <p:cNvSpPr/>
          <p:nvPr/>
        </p:nvSpPr>
        <p:spPr>
          <a:xfrm>
            <a:off x="1" y="6334316"/>
            <a:ext cx="12192000" cy="6648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0" name="Google Shape;20;p7"/>
          <p:cNvSpPr txBox="1">
            <a:spLocks noGrp="1"/>
          </p:cNvSpPr>
          <p:nvPr>
            <p:ph type="ctrTitle"/>
          </p:nvPr>
        </p:nvSpPr>
        <p:spPr>
          <a:xfrm>
            <a:off x="1097280" y="758952"/>
            <a:ext cx="10058400" cy="35661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8000"/>
              <a:buFont typeface="Calibri"/>
              <a:buNone/>
              <a:defRPr sz="8000">
                <a:solidFill>
                  <a:srgbClr val="262626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" name="Google Shape;21;p7"/>
          <p:cNvSpPr txBox="1">
            <a:spLocks noGrp="1"/>
          </p:cNvSpPr>
          <p:nvPr>
            <p:ph type="subTitle" idx="1"/>
          </p:nvPr>
        </p:nvSpPr>
        <p:spPr>
          <a:xfrm>
            <a:off x="1100051" y="4455621"/>
            <a:ext cx="100584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2400"/>
              <a:buNone/>
              <a:defRPr sz="2400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ctr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SzPts val="2400"/>
              <a:buNone/>
              <a:defRPr sz="2400"/>
            </a:lvl2pPr>
            <a:lvl3pPr lvl="2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2400"/>
              <a:buNone/>
              <a:defRPr sz="2400"/>
            </a:lvl3pPr>
            <a:lvl4pPr lvl="3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2000"/>
              <a:buNone/>
              <a:defRPr sz="2000"/>
            </a:lvl4pPr>
            <a:lvl5pPr lvl="4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2000"/>
              <a:buNone/>
              <a:defRPr sz="2000"/>
            </a:lvl5pPr>
            <a:lvl6pPr lvl="5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2000"/>
              <a:buNone/>
              <a:defRPr sz="2000"/>
            </a:lvl6pPr>
            <a:lvl7pPr lvl="6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2000"/>
              <a:buNone/>
              <a:defRPr sz="2000"/>
            </a:lvl7pPr>
            <a:lvl8pPr lvl="7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2000"/>
              <a:buNone/>
              <a:defRPr sz="2000"/>
            </a:lvl8pPr>
            <a:lvl9pPr lvl="8" algn="ctr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SzPts val="2000"/>
              <a:buNone/>
              <a:defRPr sz="2000"/>
            </a:lvl9pPr>
          </a:lstStyle>
          <a:p>
            <a:endParaRPr/>
          </a:p>
        </p:txBody>
      </p:sp>
      <p:sp>
        <p:nvSpPr>
          <p:cNvPr id="22" name="Google Shape;22;p7"/>
          <p:cNvSpPr txBox="1">
            <a:spLocks noGrp="1"/>
          </p:cNvSpPr>
          <p:nvPr>
            <p:ph type="dt" idx="10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" name="Google Shape;23;p7"/>
          <p:cNvSpPr txBox="1">
            <a:spLocks noGrp="1"/>
          </p:cNvSpPr>
          <p:nvPr>
            <p:ph type="sldNum" idx="12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MX"/>
              <a:t>‹Nº›</a:t>
            </a:fld>
            <a:endParaRPr/>
          </a:p>
        </p:txBody>
      </p:sp>
      <p:cxnSp>
        <p:nvCxnSpPr>
          <p:cNvPr id="24" name="Google Shape;24;p7"/>
          <p:cNvCxnSpPr/>
          <p:nvPr/>
        </p:nvCxnSpPr>
        <p:spPr>
          <a:xfrm>
            <a:off x="1207658" y="4343400"/>
            <a:ext cx="9875520" cy="0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93484" y="295683"/>
            <a:ext cx="11184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93484" y="765175"/>
            <a:ext cx="11184000" cy="969282"/>
          </a:xfrm>
        </p:spPr>
        <p:txBody>
          <a:bodyPr>
            <a:normAutofit/>
          </a:bodyPr>
          <a:lstStyle>
            <a:lvl1pPr marL="0" indent="0">
              <a:buNone/>
              <a:defRPr sz="3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4"/>
          </p:nvPr>
        </p:nvSpPr>
        <p:spPr>
          <a:xfrm>
            <a:off x="494400" y="1810800"/>
            <a:ext cx="5520000" cy="4536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93485" y="6407835"/>
            <a:ext cx="1007929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r>
              <a:rPr lang="en-GB"/>
              <a:t>Member Firms and DTTL: Insert appropriate copyright (Go Header &amp; Footer to edit this text)</a:t>
            </a:r>
            <a:endParaRPr lang="en-GB" dirty="0"/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0629328" y="6407835"/>
            <a:ext cx="105611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8" name="Chart Placeholder 7"/>
          <p:cNvSpPr>
            <a:spLocks noGrp="1"/>
          </p:cNvSpPr>
          <p:nvPr>
            <p:ph type="chart" sz="quarter" idx="15"/>
          </p:nvPr>
        </p:nvSpPr>
        <p:spPr>
          <a:xfrm>
            <a:off x="6191249" y="1810800"/>
            <a:ext cx="5520000" cy="4536000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26143560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buNone/>
              <a:defRPr b="1"/>
            </a:lvl1pPr>
            <a:lvl2pPr marL="271463" indent="-271463">
              <a:buFont typeface="Arial" pitchFamily="34" charset="0"/>
              <a:buChar char="•"/>
              <a:tabLst/>
              <a:defRPr/>
            </a:lvl2pPr>
            <a:lvl3pPr marL="274638" indent="-274638">
              <a:buFont typeface="Arial" pitchFamily="34" charset="0"/>
              <a:buChar char="•"/>
              <a:defRPr i="1"/>
            </a:lvl3pPr>
            <a:lvl4pPr marL="534988" indent="-263525">
              <a:buFont typeface="Arial" pitchFamily="34" charset="0"/>
              <a:buChar char="−"/>
              <a:defRPr i="0"/>
            </a:lvl4pPr>
            <a:lvl5pPr marL="806450" indent="-271463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493484" y="295683"/>
            <a:ext cx="11184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93484" y="765175"/>
            <a:ext cx="11184000" cy="969282"/>
          </a:xfrm>
        </p:spPr>
        <p:txBody>
          <a:bodyPr>
            <a:normAutofit/>
          </a:bodyPr>
          <a:lstStyle>
            <a:lvl1pPr marL="0" indent="0">
              <a:buNone/>
              <a:defRPr sz="3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0629328" y="6407835"/>
            <a:ext cx="105611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93485" y="6407835"/>
            <a:ext cx="1007929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r>
              <a:rPr lang="en-GB"/>
              <a:t>Member Firms and DTTL: Insert appropriate copyright (Go Header &amp; Footer to edit this text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90036159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for Backgrou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3485" y="1809101"/>
            <a:ext cx="5412015" cy="4536504"/>
          </a:xfrm>
        </p:spPr>
        <p:txBody>
          <a:bodyPr/>
          <a:lstStyle>
            <a:lvl1pPr marL="0" indent="0">
              <a:buNone/>
              <a:defRPr b="0"/>
            </a:lvl1pPr>
            <a:lvl2pPr marL="266700" indent="-266700">
              <a:buFont typeface="Arial" pitchFamily="34" charset="0"/>
              <a:buChar char="•"/>
              <a:tabLst/>
              <a:defRPr/>
            </a:lvl2pPr>
            <a:lvl3pPr marL="447675" indent="-180975">
              <a:buFont typeface="Calibri" pitchFamily="34" charset="0"/>
              <a:buChar char="–"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493485" y="295683"/>
            <a:ext cx="5412015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93485" y="765175"/>
            <a:ext cx="5412015" cy="969282"/>
          </a:xfrm>
        </p:spPr>
        <p:txBody>
          <a:bodyPr>
            <a:normAutofit/>
          </a:bodyPr>
          <a:lstStyle>
            <a:lvl1pPr marL="0" indent="0">
              <a:buNone/>
              <a:defRPr sz="3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0629328" y="6407835"/>
            <a:ext cx="105611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93485" y="6407835"/>
            <a:ext cx="1007929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r>
              <a:rPr lang="en-GB"/>
              <a:t>Member Firms and DTTL: Insert appropriate copyright (Go Header &amp; Footer to edit this text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33405654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 and Backgrou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520660" y="642918"/>
            <a:ext cx="6585600" cy="52864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55614" y="1724013"/>
            <a:ext cx="6159543" cy="4276755"/>
          </a:xfrm>
        </p:spPr>
        <p:txBody>
          <a:bodyPr/>
          <a:lstStyle>
            <a:lvl1pPr marL="0" indent="0">
              <a:buNone/>
              <a:defRPr b="0"/>
            </a:lvl1pPr>
            <a:lvl2pPr marL="266700" indent="-266700">
              <a:buFont typeface="Arial" pitchFamily="34" charset="0"/>
              <a:buChar char="•"/>
              <a:tabLst/>
              <a:defRPr/>
            </a:lvl2pPr>
            <a:lvl3pPr marL="447675" indent="-180975">
              <a:buFont typeface="Calibri" pitchFamily="34" charset="0"/>
              <a:buChar char="–"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641313" y="305209"/>
            <a:ext cx="6464344" cy="347235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>
            <a:lvl1pPr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55613" y="722451"/>
            <a:ext cx="6159888" cy="1012006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3000"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0629328" y="6407835"/>
            <a:ext cx="105611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chemeClr val="bg1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93485" y="6407835"/>
            <a:ext cx="1007929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GB"/>
              <a:t>Member Firms and DTTL: Insert appropriate copyright (Go Header &amp; Footer to edit this text)</a:t>
            </a:r>
            <a:endParaRPr lang="en-GB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520661" y="304778"/>
            <a:ext cx="6584996" cy="342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/>
          </a:p>
        </p:txBody>
      </p:sp>
    </p:spTree>
    <p:extLst>
      <p:ext uri="{BB962C8B-B14F-4D97-AF65-F5344CB8AC3E}">
        <p14:creationId xmlns:p14="http://schemas.microsoft.com/office/powerpoint/2010/main" val="472240221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Slide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3485" y="319067"/>
            <a:ext cx="9126791" cy="5988439"/>
          </a:xfrm>
        </p:spPr>
        <p:txBody>
          <a:bodyPr>
            <a:normAutofit/>
          </a:bodyPr>
          <a:lstStyle>
            <a:lvl1pPr marL="0" indent="0">
              <a:buNone/>
              <a:defRPr sz="3000" b="0">
                <a:solidFill>
                  <a:schemeClr val="bg1"/>
                </a:solidFill>
              </a:defRPr>
            </a:lvl1pPr>
            <a:lvl2pPr marL="0" indent="0">
              <a:buNone/>
              <a:tabLst/>
              <a:defRPr sz="3000" b="0">
                <a:solidFill>
                  <a:schemeClr val="bg1"/>
                </a:solidFill>
              </a:defRPr>
            </a:lvl2pPr>
            <a:lvl3pPr marL="274638" indent="-274638">
              <a:buFont typeface="Arial" pitchFamily="34" charset="0"/>
              <a:buChar char="•"/>
              <a:defRPr sz="3000" b="0">
                <a:solidFill>
                  <a:schemeClr val="bg1"/>
                </a:solidFill>
              </a:defRPr>
            </a:lvl3pPr>
            <a:lvl4pPr>
              <a:defRPr sz="3000" b="0">
                <a:solidFill>
                  <a:schemeClr val="bg1"/>
                </a:solidFill>
              </a:defRPr>
            </a:lvl4pPr>
            <a:lvl5pPr>
              <a:defRPr sz="30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0629328" y="6407835"/>
            <a:ext cx="105611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chemeClr val="bg1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93485" y="6407835"/>
            <a:ext cx="1007929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GB"/>
              <a:t>Member Firms and DTTL: Insert appropriate copyright (Go Header &amp; Footer to edit this text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95113602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Slide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3485" y="319067"/>
            <a:ext cx="9126791" cy="5988439"/>
          </a:xfrm>
        </p:spPr>
        <p:txBody>
          <a:bodyPr>
            <a:normAutofit/>
          </a:bodyPr>
          <a:lstStyle>
            <a:lvl1pPr marL="0" indent="0">
              <a:buNone/>
              <a:defRPr sz="3000" b="0">
                <a:solidFill>
                  <a:schemeClr val="bg1"/>
                </a:solidFill>
              </a:defRPr>
            </a:lvl1pPr>
            <a:lvl2pPr marL="0" indent="0">
              <a:buNone/>
              <a:tabLst/>
              <a:defRPr sz="3000" b="0">
                <a:solidFill>
                  <a:schemeClr val="bg1"/>
                </a:solidFill>
              </a:defRPr>
            </a:lvl2pPr>
            <a:lvl3pPr marL="274638" indent="-274638">
              <a:buFont typeface="Arial" pitchFamily="34" charset="0"/>
              <a:buChar char="•"/>
              <a:defRPr sz="3000" b="0">
                <a:solidFill>
                  <a:schemeClr val="bg1"/>
                </a:solidFill>
              </a:defRPr>
            </a:lvl3pPr>
            <a:lvl4pPr>
              <a:defRPr sz="3000" b="0">
                <a:solidFill>
                  <a:schemeClr val="bg1"/>
                </a:solidFill>
              </a:defRPr>
            </a:lvl4pPr>
            <a:lvl5pPr>
              <a:defRPr sz="30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0629328" y="6407835"/>
            <a:ext cx="105611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chemeClr val="bg1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93485" y="6407835"/>
            <a:ext cx="1007929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GB"/>
              <a:t>Member Firms and DTTL: Insert appropriate copyright (Go Header &amp; Footer to edit this text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55112350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Slide 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3485" y="319067"/>
            <a:ext cx="9126791" cy="5988439"/>
          </a:xfrm>
        </p:spPr>
        <p:txBody>
          <a:bodyPr>
            <a:normAutofit/>
          </a:bodyPr>
          <a:lstStyle>
            <a:lvl1pPr marL="0" indent="0">
              <a:buNone/>
              <a:defRPr sz="3000" b="0">
                <a:solidFill>
                  <a:schemeClr val="bg1"/>
                </a:solidFill>
              </a:defRPr>
            </a:lvl1pPr>
            <a:lvl2pPr marL="0" indent="0">
              <a:buNone/>
              <a:tabLst/>
              <a:defRPr sz="3000" b="0">
                <a:solidFill>
                  <a:schemeClr val="bg1"/>
                </a:solidFill>
              </a:defRPr>
            </a:lvl2pPr>
            <a:lvl3pPr marL="274638" indent="-274638">
              <a:buFont typeface="Arial" pitchFamily="34" charset="0"/>
              <a:buChar char="•"/>
              <a:defRPr sz="3000" b="0">
                <a:solidFill>
                  <a:schemeClr val="bg1"/>
                </a:solidFill>
              </a:defRPr>
            </a:lvl3pPr>
            <a:lvl4pPr>
              <a:defRPr sz="3000" b="0">
                <a:solidFill>
                  <a:schemeClr val="bg1"/>
                </a:solidFill>
              </a:defRPr>
            </a:lvl4pPr>
            <a:lvl5pPr>
              <a:defRPr sz="30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0629328" y="6407835"/>
            <a:ext cx="105611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chemeClr val="bg1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93485" y="6407835"/>
            <a:ext cx="1007929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GB"/>
              <a:t>Member Firms and DTTL: Insert appropriate copyright (Go Header &amp; Footer to edit this text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2789975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s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3484" y="1622411"/>
            <a:ext cx="11184000" cy="4536504"/>
          </a:xfrm>
        </p:spPr>
        <p:txBody>
          <a:bodyPr>
            <a:normAutofit/>
          </a:bodyPr>
          <a:lstStyle>
            <a:lvl1pPr marL="0" indent="0">
              <a:spcBef>
                <a:spcPts val="1800"/>
              </a:spcBef>
              <a:spcAft>
                <a:spcPts val="0"/>
              </a:spcAft>
              <a:buNone/>
              <a:defRPr sz="2000" b="0">
                <a:solidFill>
                  <a:schemeClr val="bg1"/>
                </a:solidFill>
              </a:defRPr>
            </a:lvl1pPr>
            <a:lvl2pPr marL="268288" indent="-268288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tabLst/>
              <a:defRPr sz="2000" b="0">
                <a:solidFill>
                  <a:schemeClr val="bg1"/>
                </a:solidFill>
              </a:defRPr>
            </a:lvl2pPr>
            <a:lvl3pPr marL="274638" indent="-274638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2000" b="0">
                <a:solidFill>
                  <a:schemeClr val="bg1"/>
                </a:solidFill>
              </a:defRPr>
            </a:lvl3pPr>
            <a:lvl4pPr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2000" b="0">
                <a:solidFill>
                  <a:schemeClr val="bg1"/>
                </a:solidFill>
              </a:defRPr>
            </a:lvl4pPr>
            <a:lvl5pPr marL="441325" indent="-176213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20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493484" y="179571"/>
            <a:ext cx="11184000" cy="144141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>
              <a:defRPr sz="4500"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0629328" y="6407835"/>
            <a:ext cx="105611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chemeClr val="bg1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93485" y="6407835"/>
            <a:ext cx="1007929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GB"/>
              <a:t>Member Firms and DTTL: Insert appropriate copyright (Go Header &amp; Footer to edit this text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9607413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s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81077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3484" y="1622411"/>
            <a:ext cx="11184000" cy="4536504"/>
          </a:xfrm>
        </p:spPr>
        <p:txBody>
          <a:bodyPr>
            <a:normAutofit/>
          </a:bodyPr>
          <a:lstStyle>
            <a:lvl1pPr marL="0" indent="0">
              <a:spcBef>
                <a:spcPts val="1800"/>
              </a:spcBef>
              <a:spcAft>
                <a:spcPts val="0"/>
              </a:spcAft>
              <a:buNone/>
              <a:defRPr sz="2000" b="0">
                <a:solidFill>
                  <a:schemeClr val="tx2"/>
                </a:solidFill>
              </a:defRPr>
            </a:lvl1pPr>
            <a:lvl2pPr marL="268288" indent="-268288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tabLst/>
              <a:defRPr sz="2000" b="0">
                <a:solidFill>
                  <a:schemeClr val="tx2"/>
                </a:solidFill>
              </a:defRPr>
            </a:lvl2pPr>
            <a:lvl3pPr marL="274638" indent="-274638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2000" b="0">
                <a:solidFill>
                  <a:schemeClr val="tx2"/>
                </a:solidFill>
              </a:defRPr>
            </a:lvl3pPr>
            <a:lvl4pPr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2000" b="0">
                <a:solidFill>
                  <a:schemeClr val="tx2"/>
                </a:solidFill>
              </a:defRPr>
            </a:lvl4pPr>
            <a:lvl5pPr marL="441325" indent="-176213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2000" b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493484" y="179571"/>
            <a:ext cx="11184000" cy="144141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>
              <a:defRPr sz="45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0629328" y="6407835"/>
            <a:ext cx="105611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93485" y="6407835"/>
            <a:ext cx="1007929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r>
              <a:rPr lang="en-GB"/>
              <a:t>Member Firms and DTTL: Insert appropriate copyright (Go Header &amp; Footer to edit this text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79148168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282" y="1466846"/>
            <a:ext cx="11220417" cy="4248169"/>
          </a:xfrm>
        </p:spPr>
        <p:txBody>
          <a:bodyPr anchor="t">
            <a:noAutofit/>
          </a:bodyPr>
          <a:lstStyle>
            <a:lvl1pPr algn="l">
              <a:defRPr sz="6000" b="0" cap="none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0629328" y="6407835"/>
            <a:ext cx="105611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chemeClr val="bg1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93485" y="6407835"/>
            <a:ext cx="1007929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GB"/>
              <a:t>Member Firms and DTTL: Insert appropriate copyright (Go Header &amp; Footer to edit this text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14357529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ntent with Caption" type="objTx">
  <p:cSld name="OBJECT_WITH_CAPTION_TEXT">
    <p:spTree>
      <p:nvGrpSpPr>
        <p:cNvPr id="1" name="Shape 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p10"/>
          <p:cNvSpPr/>
          <p:nvPr/>
        </p:nvSpPr>
        <p:spPr>
          <a:xfrm>
            <a:off x="16" y="0"/>
            <a:ext cx="405079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5" name="Google Shape;65;p10"/>
          <p:cNvSpPr/>
          <p:nvPr/>
        </p:nvSpPr>
        <p:spPr>
          <a:xfrm>
            <a:off x="4040071" y="0"/>
            <a:ext cx="64008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" name="Google Shape;66;p10"/>
          <p:cNvSpPr txBox="1">
            <a:spLocks noGrp="1"/>
          </p:cNvSpPr>
          <p:nvPr>
            <p:ph type="title"/>
          </p:nvPr>
        </p:nvSpPr>
        <p:spPr>
          <a:xfrm>
            <a:off x="457200" y="594359"/>
            <a:ext cx="3200400" cy="228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600"/>
              <a:buFont typeface="Calibri"/>
              <a:buNone/>
              <a:defRPr sz="3600" b="0">
                <a:solidFill>
                  <a:srgbClr val="FFFFFF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" name="Google Shape;67;p10"/>
          <p:cNvSpPr txBox="1">
            <a:spLocks noGrp="1"/>
          </p:cNvSpPr>
          <p:nvPr>
            <p:ph type="body" idx="1"/>
          </p:nvPr>
        </p:nvSpPr>
        <p:spPr>
          <a:xfrm>
            <a:off x="4800600" y="731520"/>
            <a:ext cx="6492240" cy="525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1800"/>
              <a:buChar char=" "/>
              <a:defRPr/>
            </a:lvl1pPr>
            <a:lvl2pPr marL="914400" lvl="1" indent="-342900" algn="l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SzPts val="1800"/>
              <a:buChar char="◦"/>
              <a:defRPr/>
            </a:lvl2pPr>
            <a:lvl3pPr marL="1371600" lvl="2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3pPr>
            <a:lvl4pPr marL="1828800" lvl="3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4pPr>
            <a:lvl5pPr marL="2286000" lvl="4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5pPr>
            <a:lvl6pPr marL="2743200" lvl="5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6pPr>
            <a:lvl7pPr marL="3200400" lvl="6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7pPr>
            <a:lvl8pPr marL="3657600" lvl="7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8pPr>
            <a:lvl9pPr marL="4114800" lvl="8" indent="-342900"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SzPts val="1800"/>
              <a:buChar char="◦"/>
              <a:defRPr/>
            </a:lvl9pPr>
          </a:lstStyle>
          <a:p>
            <a:endParaRPr/>
          </a:p>
        </p:txBody>
      </p:sp>
      <p:sp>
        <p:nvSpPr>
          <p:cNvPr id="68" name="Google Shape;68;p10"/>
          <p:cNvSpPr txBox="1">
            <a:spLocks noGrp="1"/>
          </p:cNvSpPr>
          <p:nvPr>
            <p:ph type="body" idx="2"/>
          </p:nvPr>
        </p:nvSpPr>
        <p:spPr>
          <a:xfrm>
            <a:off x="457200" y="2926080"/>
            <a:ext cx="3200400" cy="33791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1500"/>
              <a:buNone/>
              <a:defRPr sz="1500">
                <a:solidFill>
                  <a:srgbClr val="FFFFFF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000"/>
              <a:buNone/>
              <a:defRPr sz="1000"/>
            </a:lvl3pPr>
            <a:lvl4pPr marL="1828800" lvl="3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900"/>
              <a:buNone/>
              <a:defRPr sz="900"/>
            </a:lvl4pPr>
            <a:lvl5pPr marL="2286000" lvl="4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900"/>
              <a:buNone/>
              <a:defRPr sz="900"/>
            </a:lvl5pPr>
            <a:lvl6pPr marL="2743200" lvl="5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900"/>
              <a:buNone/>
              <a:defRPr sz="900"/>
            </a:lvl6pPr>
            <a:lvl7pPr marL="3200400" lvl="6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900"/>
              <a:buNone/>
              <a:defRPr sz="900"/>
            </a:lvl7pPr>
            <a:lvl8pPr marL="3657600" lvl="7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900"/>
              <a:buNone/>
              <a:defRPr sz="900"/>
            </a:lvl8pPr>
            <a:lvl9pPr marL="4114800" lvl="8" indent="-228600"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SzPts val="900"/>
              <a:buNone/>
              <a:defRPr sz="900"/>
            </a:lvl9pPr>
          </a:lstStyle>
          <a:p>
            <a:endParaRPr/>
          </a:p>
        </p:txBody>
      </p:sp>
      <p:sp>
        <p:nvSpPr>
          <p:cNvPr id="69" name="Google Shape;69;p10"/>
          <p:cNvSpPr txBox="1">
            <a:spLocks noGrp="1"/>
          </p:cNvSpPr>
          <p:nvPr>
            <p:ph type="dt" idx="10"/>
          </p:nvPr>
        </p:nvSpPr>
        <p:spPr>
          <a:xfrm>
            <a:off x="465512" y="6459785"/>
            <a:ext cx="261851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" name="Google Shape;70;p10"/>
          <p:cNvSpPr txBox="1">
            <a:spLocks noGrp="1"/>
          </p:cNvSpPr>
          <p:nvPr>
            <p:ph type="sldNum" idx="12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05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05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05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05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05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05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05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05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05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MX"/>
              <a:t>‹Nº›</a:t>
            </a:fld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282" y="1466846"/>
            <a:ext cx="11220417" cy="4248169"/>
          </a:xfrm>
        </p:spPr>
        <p:txBody>
          <a:bodyPr anchor="t">
            <a:noAutofit/>
          </a:bodyPr>
          <a:lstStyle>
            <a:lvl1pPr algn="l">
              <a:defRPr sz="6000" b="0" cap="none" baseline="0"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0629328" y="6407835"/>
            <a:ext cx="105611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chemeClr val="bg1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93485" y="6407835"/>
            <a:ext cx="1007929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GB"/>
              <a:t>Member Firms and DTTL: Insert appropriate copyright (Go Header &amp; Footer to edit this text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44582406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282" y="1466846"/>
            <a:ext cx="11220417" cy="4248169"/>
          </a:xfrm>
        </p:spPr>
        <p:txBody>
          <a:bodyPr anchor="t">
            <a:noAutofit/>
          </a:bodyPr>
          <a:lstStyle>
            <a:lvl1pPr algn="l">
              <a:defRPr sz="6000" b="0" cap="none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0629328" y="6407835"/>
            <a:ext cx="105611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chemeClr val="bg1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93485" y="6407835"/>
            <a:ext cx="1007929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GB"/>
              <a:t>Member Firms and DTTL: Insert appropriate copyright (Go Header &amp; Footer to edit this text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8958221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4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282" y="1466846"/>
            <a:ext cx="11220417" cy="4248169"/>
          </a:xfrm>
        </p:spPr>
        <p:txBody>
          <a:bodyPr anchor="t">
            <a:noAutofit/>
          </a:bodyPr>
          <a:lstStyle>
            <a:lvl1pPr algn="l">
              <a:defRPr sz="6000" b="0" cap="none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0629328" y="6407835"/>
            <a:ext cx="105611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chemeClr val="bg1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93485" y="6407835"/>
            <a:ext cx="1007929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GB"/>
              <a:t>Member Firms and DTTL: Insert appropriate copyright (Go Header &amp; Footer to edit this text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69744496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with Imag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8982" y="1538286"/>
            <a:ext cx="11220417" cy="4248169"/>
          </a:xfrm>
        </p:spPr>
        <p:txBody>
          <a:bodyPr anchor="t">
            <a:noAutofit/>
          </a:bodyPr>
          <a:lstStyle>
            <a:lvl1pPr algn="l">
              <a:defRPr sz="4800" b="0" cap="none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0629328" y="6407835"/>
            <a:ext cx="105611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93485" y="6407835"/>
            <a:ext cx="1007929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r>
              <a:rPr lang="en-GB"/>
              <a:t>Member Firms and DTTL: Insert appropriate copyright (Go Header &amp; Footer to edit this text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01685680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with Imag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4128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8983" y="1671637"/>
            <a:ext cx="3702005" cy="4248169"/>
          </a:xfrm>
        </p:spPr>
        <p:txBody>
          <a:bodyPr anchor="t">
            <a:noAutofit/>
          </a:bodyPr>
          <a:lstStyle>
            <a:lvl1pPr algn="l">
              <a:defRPr sz="3600" b="0" cap="none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0629328" y="6407835"/>
            <a:ext cx="105611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93485" y="6407835"/>
            <a:ext cx="1007929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r>
              <a:rPr lang="en-GB"/>
              <a:t>Member Firms and DTTL: Insert appropriate copyright (Go Header &amp; Footer to edit this text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27951840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0629328" y="6407835"/>
            <a:ext cx="105611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93485" y="6407835"/>
            <a:ext cx="1007929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r>
              <a:rPr lang="en-GB"/>
              <a:t>Member Firms and DTTL: Insert appropriate copyright (Go Header &amp; Footer to edit this text)</a:t>
            </a:r>
            <a:endParaRPr lang="en-GB" dirty="0"/>
          </a:p>
        </p:txBody>
      </p:sp>
      <p:pic>
        <p:nvPicPr>
          <p:cNvPr id="4" name="Picture 3" descr="DEL_PRI_RGB.gif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439509" y="3844097"/>
            <a:ext cx="2294400" cy="322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9895046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1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94733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3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4733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>
            <a:lvl1pPr>
              <a:defRPr sz="3000" b="0">
                <a:solidFill>
                  <a:srgbClr val="81BC00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0629328" y="6446520"/>
            <a:ext cx="105611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93485" y="6446520"/>
            <a:ext cx="1007929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r>
              <a:rPr lang="en-GB"/>
              <a:t>Member Firms and DTTL: Insert appropriate copyright (Go Header &amp; Footer to edit this text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4493658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 lIns="91426" tIns="45712" rIns="91426" bIns="45712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E2D0561-90C5-45B1-BB23-29979DDCF501}" type="datetimeFigureOut">
              <a:rPr lang="en-US" smtClean="0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9/29/2023</a:t>
            </a:fld>
            <a:endParaRPr lang="en-US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2776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FD6E07-E0F2-4EF4-B62F-76463AC93147}" type="slidenum">
              <a:rPr lang="en-US">
                <a:solidFill>
                  <a:srgbClr val="002776"/>
                </a:solidFill>
              </a:rPr>
              <a:pPr/>
              <a:t>‹Nº›</a:t>
            </a:fld>
            <a:endParaRPr lang="en-US">
              <a:solidFill>
                <a:srgbClr val="0027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35642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473290" y="6554103"/>
            <a:ext cx="377092" cy="144247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 smtClean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161F61C0-2215-4557-9AEC-40913A79701B}" type="slidenum">
              <a:rPr lang="en-US">
                <a:solidFill>
                  <a:srgbClr val="002776"/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srgbClr val="002776"/>
              </a:solidFill>
            </a:endParaRPr>
          </a:p>
        </p:txBody>
      </p:sp>
      <p:sp>
        <p:nvSpPr>
          <p:cNvPr id="7" name="Footer Placeholder 10"/>
          <p:cNvSpPr>
            <a:spLocks noGrp="1"/>
          </p:cNvSpPr>
          <p:nvPr>
            <p:ph type="ftr" sz="quarter" idx="3"/>
          </p:nvPr>
        </p:nvSpPr>
        <p:spPr>
          <a:xfrm>
            <a:off x="1029308" y="6554103"/>
            <a:ext cx="5756424" cy="144247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smtClean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002776"/>
                </a:solidFill>
              </a:rPr>
              <a:t>Icons Timesaver</a:t>
            </a:r>
            <a:endParaRPr lang="en-US" dirty="0">
              <a:solidFill>
                <a:srgbClr val="002776"/>
              </a:solidFill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8619244" y="6554103"/>
            <a:ext cx="3084075" cy="144247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 defTabSz="914404">
              <a:lnSpc>
                <a:spcPts val="1077"/>
              </a:lnSpc>
              <a:defRPr/>
            </a:pPr>
            <a:r>
              <a:rPr lang="en-US" sz="700" kern="0" dirty="0">
                <a:solidFill>
                  <a:srgbClr val="002776"/>
                </a:solidFill>
                <a:cs typeface="Arial" charset="0"/>
              </a:rPr>
              <a:t>© 2012 Deloitte Global Services Limited </a:t>
            </a:r>
          </a:p>
        </p:txBody>
      </p:sp>
    </p:spTree>
    <p:extLst>
      <p:ext uri="{BB962C8B-B14F-4D97-AF65-F5344CB8AC3E}">
        <p14:creationId xmlns:p14="http://schemas.microsoft.com/office/powerpoint/2010/main" val="123618870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gle Column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>
            <a:spLocks noChangeArrowheads="1"/>
          </p:cNvSpPr>
          <p:nvPr/>
        </p:nvSpPr>
        <p:spPr bwMode="gray">
          <a:xfrm>
            <a:off x="522820" y="1154114"/>
            <a:ext cx="5353049" cy="5135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fontAlgn="base">
              <a:lnSpc>
                <a:spcPct val="106000"/>
              </a:lnSpc>
              <a:spcBef>
                <a:spcPct val="80000"/>
              </a:spcBef>
              <a:spcAft>
                <a:spcPct val="0"/>
              </a:spcAft>
              <a:buClr>
                <a:srgbClr val="000000"/>
              </a:buClr>
              <a:buSzPct val="80000"/>
              <a:buFont typeface="Wingdings" pitchFamily="2" charset="2"/>
              <a:buNone/>
            </a:pPr>
            <a:endParaRPr lang="en-US" sz="100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524258" y="1152144"/>
            <a:ext cx="11136461" cy="5138928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2"/>
          </p:nvPr>
        </p:nvSpPr>
        <p:spPr>
          <a:xfrm>
            <a:off x="524257" y="256033"/>
            <a:ext cx="11131296" cy="521208"/>
          </a:xfrm>
          <a:solidFill>
            <a:srgbClr val="FFFFFF"/>
          </a:solidFill>
        </p:spPr>
        <p:txBody>
          <a:bodyPr anchor="b"/>
          <a:lstStyle>
            <a:lvl1pPr>
              <a:buNone/>
              <a:defRPr sz="16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782691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Picture with Caption" type="picTx">
  <p:cSld name="PICTURE_WITH_CAPTION_TEXT">
    <p:spTree>
      <p:nvGrpSpPr>
        <p:cNvPr id="1" name="Shape 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Google Shape;72;p11"/>
          <p:cNvSpPr/>
          <p:nvPr/>
        </p:nvSpPr>
        <p:spPr>
          <a:xfrm>
            <a:off x="0" y="4953000"/>
            <a:ext cx="12188825" cy="1905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3" name="Google Shape;73;p11"/>
          <p:cNvSpPr/>
          <p:nvPr/>
        </p:nvSpPr>
        <p:spPr>
          <a:xfrm>
            <a:off x="15" y="491507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4" name="Google Shape;74;p11"/>
          <p:cNvSpPr txBox="1">
            <a:spLocks noGrp="1"/>
          </p:cNvSpPr>
          <p:nvPr>
            <p:ph type="title"/>
          </p:nvPr>
        </p:nvSpPr>
        <p:spPr>
          <a:xfrm>
            <a:off x="1097280" y="5074920"/>
            <a:ext cx="10113645" cy="8229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b" anchorCtr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600"/>
              <a:buFont typeface="Calibri"/>
              <a:buNone/>
              <a:defRPr sz="3600" b="0">
                <a:solidFill>
                  <a:srgbClr val="FFFFFF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" name="Google Shape;75;p11"/>
          <p:cNvSpPr>
            <a:spLocks noGrp="1"/>
          </p:cNvSpPr>
          <p:nvPr>
            <p:ph type="pic" idx="2"/>
          </p:nvPr>
        </p:nvSpPr>
        <p:spPr>
          <a:xfrm>
            <a:off x="15" y="0"/>
            <a:ext cx="12191985" cy="4915076"/>
          </a:xfrm>
          <a:prstGeom prst="rect">
            <a:avLst/>
          </a:prstGeom>
          <a:solidFill>
            <a:srgbClr val="84B2F6"/>
          </a:solidFill>
          <a:ln>
            <a:noFill/>
          </a:ln>
        </p:spPr>
      </p:sp>
      <p:sp>
        <p:nvSpPr>
          <p:cNvPr id="76" name="Google Shape;76;p11"/>
          <p:cNvSpPr txBox="1">
            <a:spLocks noGrp="1"/>
          </p:cNvSpPr>
          <p:nvPr>
            <p:ph type="body" idx="1"/>
          </p:nvPr>
        </p:nvSpPr>
        <p:spPr>
          <a:xfrm>
            <a:off x="1097280" y="5907024"/>
            <a:ext cx="10113264" cy="5943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 sz="1500">
                <a:solidFill>
                  <a:srgbClr val="FFFFFF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000"/>
              <a:buNone/>
              <a:defRPr sz="1000"/>
            </a:lvl3pPr>
            <a:lvl4pPr marL="1828800" lvl="3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900"/>
              <a:buNone/>
              <a:defRPr sz="900"/>
            </a:lvl4pPr>
            <a:lvl5pPr marL="2286000" lvl="4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900"/>
              <a:buNone/>
              <a:defRPr sz="900"/>
            </a:lvl5pPr>
            <a:lvl6pPr marL="2743200" lvl="5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900"/>
              <a:buNone/>
              <a:defRPr sz="900"/>
            </a:lvl6pPr>
            <a:lvl7pPr marL="3200400" lvl="6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900"/>
              <a:buNone/>
              <a:defRPr sz="900"/>
            </a:lvl7pPr>
            <a:lvl8pPr marL="3657600" lvl="7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900"/>
              <a:buNone/>
              <a:defRPr sz="900"/>
            </a:lvl8pPr>
            <a:lvl9pPr marL="4114800" lvl="8" indent="-228600"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SzPts val="900"/>
              <a:buNone/>
              <a:defRPr sz="900"/>
            </a:lvl9pPr>
          </a:lstStyle>
          <a:p>
            <a:endParaRPr/>
          </a:p>
        </p:txBody>
      </p:sp>
      <p:sp>
        <p:nvSpPr>
          <p:cNvPr id="77" name="Google Shape;77;p11"/>
          <p:cNvSpPr txBox="1">
            <a:spLocks noGrp="1"/>
          </p:cNvSpPr>
          <p:nvPr>
            <p:ph type="dt" idx="10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" name="Google Shape;78;p11"/>
          <p:cNvSpPr txBox="1">
            <a:spLocks noGrp="1"/>
          </p:cNvSpPr>
          <p:nvPr>
            <p:ph type="ftr" idx="11"/>
          </p:nvPr>
        </p:nvSpPr>
        <p:spPr>
          <a:xfrm>
            <a:off x="3686185" y="6459785"/>
            <a:ext cx="4822804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9" name="Google Shape;79;p11"/>
          <p:cNvSpPr txBox="1">
            <a:spLocks noGrp="1"/>
          </p:cNvSpPr>
          <p:nvPr>
            <p:ph type="sldNum" idx="12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MX"/>
              <a:t>‹Nº›</a:t>
            </a:fld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7680" y="782621"/>
            <a:ext cx="11216640" cy="757255"/>
          </a:xfr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87680" y="295683"/>
            <a:ext cx="1121664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514641905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1800" y="238540"/>
            <a:ext cx="11329456" cy="616455"/>
          </a:xfr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de-DE" noProof="0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431799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7D737FF8-F5A1-4B15-9195-32D8A5121DA7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29.09.2023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8916457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9DC1E638-3F78-4E0D-883A-B278700C48C0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431800" y="854994"/>
            <a:ext cx="11328400" cy="336244"/>
          </a:xfrm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de-DE" noProof="0" dirty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083306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ieren 2"/>
          <p:cNvGrpSpPr/>
          <p:nvPr userDrawn="1"/>
        </p:nvGrpSpPr>
        <p:grpSpPr>
          <a:xfrm>
            <a:off x="335360" y="244889"/>
            <a:ext cx="11514853" cy="6368222"/>
            <a:chOff x="251520" y="244889"/>
            <a:chExt cx="8636140" cy="6368222"/>
          </a:xfrm>
        </p:grpSpPr>
        <p:sp>
          <p:nvSpPr>
            <p:cNvPr id="6" name="Ellipse 5"/>
            <p:cNvSpPr/>
            <p:nvPr/>
          </p:nvSpPr>
          <p:spPr bwMode="auto">
            <a:xfrm rot="5400000">
              <a:off x="4497934" y="2294464"/>
              <a:ext cx="142162" cy="8495132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alpha val="30000"/>
                  </a:srgbClr>
                </a:gs>
                <a:gs pos="100000">
                  <a:srgbClr val="000000">
                    <a:alpha val="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 sz="1400" dirty="0"/>
            </a:p>
          </p:txBody>
        </p:sp>
        <p:sp>
          <p:nvSpPr>
            <p:cNvPr id="7" name="Ellipse 6"/>
            <p:cNvSpPr/>
            <p:nvPr/>
          </p:nvSpPr>
          <p:spPr bwMode="auto">
            <a:xfrm rot="5400000">
              <a:off x="4497934" y="-3931596"/>
              <a:ext cx="142162" cy="8495132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alpha val="30000"/>
                  </a:srgbClr>
                </a:gs>
                <a:gs pos="100000">
                  <a:srgbClr val="000000">
                    <a:alpha val="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 sz="1400" dirty="0"/>
            </a:p>
          </p:txBody>
        </p:sp>
        <p:sp>
          <p:nvSpPr>
            <p:cNvPr id="8" name="Ellipse 7"/>
            <p:cNvSpPr/>
            <p:nvPr/>
          </p:nvSpPr>
          <p:spPr bwMode="auto">
            <a:xfrm>
              <a:off x="8745499" y="315969"/>
              <a:ext cx="142161" cy="6226056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alpha val="30000"/>
                  </a:srgbClr>
                </a:gs>
                <a:gs pos="100000">
                  <a:srgbClr val="000000">
                    <a:alpha val="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 sz="1400" dirty="0"/>
            </a:p>
          </p:txBody>
        </p:sp>
        <p:sp>
          <p:nvSpPr>
            <p:cNvPr id="9" name="Ellipse 8"/>
            <p:cNvSpPr/>
            <p:nvPr/>
          </p:nvSpPr>
          <p:spPr bwMode="auto">
            <a:xfrm>
              <a:off x="251520" y="315973"/>
              <a:ext cx="142161" cy="6226056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alpha val="30000"/>
                  </a:srgbClr>
                </a:gs>
                <a:gs pos="100000">
                  <a:srgbClr val="000000">
                    <a:alpha val="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 sz="1400" dirty="0"/>
            </a:p>
          </p:txBody>
        </p:sp>
        <p:sp>
          <p:nvSpPr>
            <p:cNvPr id="10" name="Rechteck 9"/>
            <p:cNvSpPr/>
            <p:nvPr/>
          </p:nvSpPr>
          <p:spPr bwMode="auto">
            <a:xfrm>
              <a:off x="321450" y="315970"/>
              <a:ext cx="8496300" cy="6226059"/>
            </a:xfrm>
            <a:prstGeom prst="rect">
              <a:avLst/>
            </a:prstGeom>
            <a:gradFill flip="none" rotWithShape="1">
              <a:gsLst>
                <a:gs pos="0">
                  <a:srgbClr val="E6E6E6"/>
                </a:gs>
                <a:gs pos="100000">
                  <a:srgbClr val="F8F8F8"/>
                </a:gs>
                <a:gs pos="50000">
                  <a:srgbClr val="FFFFFF"/>
                </a:gs>
              </a:gsLst>
              <a:lin ang="13500000" scaled="1"/>
              <a:tileRect/>
            </a:gradFill>
            <a:ln w="12700">
              <a:noFill/>
              <a:round/>
              <a:headEnd/>
              <a:tailEnd/>
            </a:ln>
            <a:effectLst/>
          </p:spPr>
          <p:txBody>
            <a:bodyPr rtlCol="0" anchor="ctr"/>
            <a:lstStyle/>
            <a:p>
              <a:pPr algn="ctr"/>
              <a:endParaRPr lang="de-DE" sz="1400" dirty="0"/>
            </a:p>
          </p:txBody>
        </p:sp>
      </p:grp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>
          <a:xfrm>
            <a:off x="431799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7F4427C1-EFCA-456C-8A36-3FE89C332DBB}" type="datetime1">
              <a:rPr lang="de-DE" noProof="0" smtClean="0"/>
              <a:pPr/>
              <a:t>29.09.2023</a:t>
            </a:fld>
            <a:endParaRPr lang="de-DE" noProof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8916457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9DC1E638-3F78-4E0D-883A-B278700C48C0}" type="slidenum">
              <a:rPr lang="de-DE" noProof="0" smtClean="0"/>
              <a:pPr/>
              <a:t>‹Nº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383756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0"/>
            <a:ext cx="11202669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20266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5305579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81539" y="1665289"/>
            <a:ext cx="5322781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35101829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Blank" userDrawn="1">
  <p:cSld name="1_Blank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8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7" name="Google Shape;27;p8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8" name="Google Shape;28;p8"/>
          <p:cNvSpPr txBox="1">
            <a:spLocks noGrp="1"/>
          </p:cNvSpPr>
          <p:nvPr>
            <p:ph type="dt" idx="10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" name="Google Shape;29;p8"/>
          <p:cNvSpPr txBox="1">
            <a:spLocks noGrp="1"/>
          </p:cNvSpPr>
          <p:nvPr>
            <p:ph type="sldNum" idx="12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MX"/>
              <a:t>‹Nº›</a:t>
            </a:fld>
            <a:endParaRPr/>
          </a:p>
        </p:txBody>
      </p:sp>
      <p:sp>
        <p:nvSpPr>
          <p:cNvPr id="30" name="Google Shape;30;p8"/>
          <p:cNvSpPr txBox="1">
            <a:spLocks noGrp="1"/>
          </p:cNvSpPr>
          <p:nvPr>
            <p:ph type="body" idx="1"/>
          </p:nvPr>
        </p:nvSpPr>
        <p:spPr>
          <a:xfrm>
            <a:off x="1961383" y="1519724"/>
            <a:ext cx="9163983" cy="47126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rmAutofit/>
          </a:bodyPr>
          <a:lstStyle>
            <a:lvl1pPr marL="457200" lvl="0" indent="-342900" algn="l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NTR"/>
              <a:buChar char="+"/>
              <a:defRPr sz="1800">
                <a:solidFill>
                  <a:schemeClr val="dk1"/>
                </a:solidFill>
              </a:defRPr>
            </a:lvl1pPr>
            <a:lvl2pPr marL="914400" lvl="1" indent="-330200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>
                <a:solidFill>
                  <a:schemeClr val="dk1"/>
                </a:solidFill>
              </a:defRPr>
            </a:lvl2pPr>
            <a:lvl3pPr marL="1371600" lvl="2" indent="-330200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›"/>
              <a:defRPr sz="1600">
                <a:solidFill>
                  <a:schemeClr val="dk1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»"/>
              <a:defRPr sz="1600">
                <a:solidFill>
                  <a:schemeClr val="dk1"/>
                </a:solidFill>
              </a:defRPr>
            </a:lvl4pPr>
            <a:lvl5pPr marL="2286000" lvl="4" indent="-304800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Noto Sans Symbols"/>
              <a:buChar char="▪"/>
              <a:defRPr sz="1600">
                <a:solidFill>
                  <a:schemeClr val="dk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6pPr>
            <a:lvl7pPr marL="3200400" lvl="6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7pPr>
            <a:lvl8pPr marL="3657600" lvl="7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8pPr>
            <a:lvl9pPr marL="4114800" lvl="8" indent="-342900"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SzPts val="1800"/>
              <a:buChar char="◦"/>
              <a:defRPr/>
            </a:lvl9pPr>
          </a:lstStyle>
          <a:p>
            <a:endParaRPr/>
          </a:p>
        </p:txBody>
      </p:sp>
      <p:sp>
        <p:nvSpPr>
          <p:cNvPr id="31" name="Google Shape;31;p8"/>
          <p:cNvSpPr txBox="1">
            <a:spLocks noGrp="1"/>
          </p:cNvSpPr>
          <p:nvPr>
            <p:ph type="title"/>
          </p:nvPr>
        </p:nvSpPr>
        <p:spPr>
          <a:xfrm>
            <a:off x="1962418" y="823398"/>
            <a:ext cx="9163983" cy="5943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200"/>
              <a:buFont typeface="Calibri"/>
              <a:buNone/>
              <a:defRPr sz="3200" b="1">
                <a:solidFill>
                  <a:schemeClr val="accen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2" name="Google Shape;32;p8"/>
          <p:cNvGrpSpPr/>
          <p:nvPr/>
        </p:nvGrpSpPr>
        <p:grpSpPr>
          <a:xfrm>
            <a:off x="0" y="0"/>
            <a:ext cx="1250388" cy="1575820"/>
            <a:chOff x="-1" y="260324"/>
            <a:chExt cx="1250388" cy="1575820"/>
          </a:xfrm>
        </p:grpSpPr>
        <p:grpSp>
          <p:nvGrpSpPr>
            <p:cNvPr id="33" name="Google Shape;33;p8"/>
            <p:cNvGrpSpPr/>
            <p:nvPr/>
          </p:nvGrpSpPr>
          <p:grpSpPr>
            <a:xfrm>
              <a:off x="686264" y="1652391"/>
              <a:ext cx="564123" cy="183753"/>
              <a:chOff x="876236" y="5534957"/>
              <a:chExt cx="1674271" cy="545364"/>
            </a:xfrm>
          </p:grpSpPr>
          <p:sp>
            <p:nvSpPr>
              <p:cNvPr id="34" name="Google Shape;34;p8"/>
              <p:cNvSpPr/>
              <p:nvPr/>
            </p:nvSpPr>
            <p:spPr>
              <a:xfrm>
                <a:off x="1154393" y="5534957"/>
                <a:ext cx="1117582" cy="545364"/>
              </a:xfrm>
              <a:prstGeom prst="cub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600" b="0" i="0" u="none" strike="noStrike" cap="none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5" name="Google Shape;35;p8"/>
              <p:cNvSpPr/>
              <p:nvPr/>
            </p:nvSpPr>
            <p:spPr>
              <a:xfrm>
                <a:off x="2005143" y="5534957"/>
                <a:ext cx="545364" cy="545364"/>
              </a:xfrm>
              <a:prstGeom prst="cub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600" b="0" i="0" u="none" strike="noStrike" cap="none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6" name="Google Shape;36;p8"/>
              <p:cNvSpPr/>
              <p:nvPr/>
            </p:nvSpPr>
            <p:spPr>
              <a:xfrm>
                <a:off x="876236" y="5534957"/>
                <a:ext cx="545364" cy="545364"/>
              </a:xfrm>
              <a:prstGeom prst="cub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600" b="0" i="0" u="none" strike="noStrike" cap="none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37" name="Google Shape;37;p8"/>
            <p:cNvGrpSpPr/>
            <p:nvPr/>
          </p:nvGrpSpPr>
          <p:grpSpPr>
            <a:xfrm>
              <a:off x="864211" y="1304375"/>
              <a:ext cx="386176" cy="183753"/>
              <a:chOff x="1404367" y="4502072"/>
              <a:chExt cx="1146140" cy="545364"/>
            </a:xfrm>
          </p:grpSpPr>
          <p:sp>
            <p:nvSpPr>
              <p:cNvPr id="38" name="Google Shape;38;p8"/>
              <p:cNvSpPr/>
              <p:nvPr/>
            </p:nvSpPr>
            <p:spPr>
              <a:xfrm>
                <a:off x="1682197" y="4502072"/>
                <a:ext cx="589775" cy="545364"/>
              </a:xfrm>
              <a:prstGeom prst="cub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600" b="0" i="0" u="none" strike="noStrike" cap="none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9" name="Google Shape;39;p8"/>
              <p:cNvSpPr/>
              <p:nvPr/>
            </p:nvSpPr>
            <p:spPr>
              <a:xfrm>
                <a:off x="2005143" y="4502072"/>
                <a:ext cx="545364" cy="545364"/>
              </a:xfrm>
              <a:prstGeom prst="cub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600" b="0" i="0" u="none" strike="noStrike" cap="none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0" name="Google Shape;40;p8"/>
              <p:cNvSpPr/>
              <p:nvPr/>
            </p:nvSpPr>
            <p:spPr>
              <a:xfrm>
                <a:off x="1404367" y="4502072"/>
                <a:ext cx="545364" cy="545364"/>
              </a:xfrm>
              <a:prstGeom prst="cub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600" b="0" i="0" u="none" strike="noStrike" cap="none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41" name="Google Shape;41;p8"/>
            <p:cNvGrpSpPr/>
            <p:nvPr/>
          </p:nvGrpSpPr>
          <p:grpSpPr>
            <a:xfrm>
              <a:off x="917753" y="956358"/>
              <a:ext cx="332634" cy="183753"/>
              <a:chOff x="1560101" y="3469185"/>
              <a:chExt cx="987231" cy="545364"/>
            </a:xfrm>
          </p:grpSpPr>
          <p:sp>
            <p:nvSpPr>
              <p:cNvPr id="42" name="Google Shape;42;p8"/>
              <p:cNvSpPr/>
              <p:nvPr/>
            </p:nvSpPr>
            <p:spPr>
              <a:xfrm>
                <a:off x="1560101" y="3469185"/>
                <a:ext cx="545364" cy="545364"/>
              </a:xfrm>
              <a:prstGeom prst="cub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600" b="0" i="0" u="none" strike="noStrike" cap="none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" name="Google Shape;43;p8"/>
              <p:cNvSpPr/>
              <p:nvPr/>
            </p:nvSpPr>
            <p:spPr>
              <a:xfrm>
                <a:off x="1825936" y="3469185"/>
                <a:ext cx="446037" cy="545364"/>
              </a:xfrm>
              <a:prstGeom prst="cub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600" b="0" i="0" u="none" strike="noStrike" cap="none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" name="Google Shape;44;p8"/>
              <p:cNvSpPr/>
              <p:nvPr/>
            </p:nvSpPr>
            <p:spPr>
              <a:xfrm>
                <a:off x="2001968" y="3469185"/>
                <a:ext cx="545364" cy="545364"/>
              </a:xfrm>
              <a:prstGeom prst="cub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600" b="0" i="0" u="none" strike="noStrike" cap="none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45" name="Google Shape;45;p8"/>
            <p:cNvGrpSpPr/>
            <p:nvPr/>
          </p:nvGrpSpPr>
          <p:grpSpPr>
            <a:xfrm>
              <a:off x="868078" y="608341"/>
              <a:ext cx="382309" cy="183753"/>
              <a:chOff x="1415887" y="2436300"/>
              <a:chExt cx="1134663" cy="545364"/>
            </a:xfrm>
          </p:grpSpPr>
          <p:sp>
            <p:nvSpPr>
              <p:cNvPr id="46" name="Google Shape;46;p8"/>
              <p:cNvSpPr/>
              <p:nvPr/>
            </p:nvSpPr>
            <p:spPr>
              <a:xfrm>
                <a:off x="2005186" y="2436300"/>
                <a:ext cx="545364" cy="545364"/>
              </a:xfrm>
              <a:prstGeom prst="cub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600" b="0" i="0" u="none" strike="noStrike" cap="none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" name="Google Shape;47;p8"/>
              <p:cNvSpPr/>
              <p:nvPr/>
            </p:nvSpPr>
            <p:spPr>
              <a:xfrm>
                <a:off x="1415887" y="2436300"/>
                <a:ext cx="545364" cy="545364"/>
              </a:xfrm>
              <a:prstGeom prst="cub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600" b="0" i="0" u="none" strike="noStrike" cap="none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8" name="Google Shape;48;p8"/>
              <p:cNvSpPr/>
              <p:nvPr/>
            </p:nvSpPr>
            <p:spPr>
              <a:xfrm>
                <a:off x="1682240" y="2436300"/>
                <a:ext cx="589731" cy="545364"/>
              </a:xfrm>
              <a:prstGeom prst="cub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600" b="0" i="0" u="none" strike="noStrike" cap="none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49" name="Google Shape;49;p8"/>
            <p:cNvGrpSpPr/>
            <p:nvPr/>
          </p:nvGrpSpPr>
          <p:grpSpPr>
            <a:xfrm>
              <a:off x="693506" y="260324"/>
              <a:ext cx="556881" cy="183753"/>
              <a:chOff x="898206" y="1403413"/>
              <a:chExt cx="1652778" cy="545364"/>
            </a:xfrm>
          </p:grpSpPr>
          <p:sp>
            <p:nvSpPr>
              <p:cNvPr id="50" name="Google Shape;50;p8"/>
              <p:cNvSpPr/>
              <p:nvPr/>
            </p:nvSpPr>
            <p:spPr>
              <a:xfrm>
                <a:off x="2005620" y="1403413"/>
                <a:ext cx="545364" cy="545364"/>
              </a:xfrm>
              <a:prstGeom prst="cub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600" b="0" i="0" u="none" strike="noStrike" cap="none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" name="Google Shape;51;p8"/>
              <p:cNvSpPr/>
              <p:nvPr/>
            </p:nvSpPr>
            <p:spPr>
              <a:xfrm>
                <a:off x="898206" y="1403413"/>
                <a:ext cx="545364" cy="545364"/>
              </a:xfrm>
              <a:prstGeom prst="cub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600" b="0" i="0" u="none" strike="noStrike" cap="none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" name="Google Shape;52;p8"/>
              <p:cNvSpPr/>
              <p:nvPr/>
            </p:nvSpPr>
            <p:spPr>
              <a:xfrm>
                <a:off x="1164538" y="1403413"/>
                <a:ext cx="1117581" cy="545364"/>
              </a:xfrm>
              <a:prstGeom prst="cub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600" b="0" i="0" u="none" strike="noStrike" cap="none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53" name="Google Shape;53;p8"/>
            <p:cNvSpPr/>
            <p:nvPr/>
          </p:nvSpPr>
          <p:spPr>
            <a:xfrm>
              <a:off x="0" y="260324"/>
              <a:ext cx="550424" cy="183006"/>
            </a:xfrm>
            <a:prstGeom prst="cube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6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" name="Google Shape;54;p8"/>
            <p:cNvSpPr/>
            <p:nvPr/>
          </p:nvSpPr>
          <p:spPr>
            <a:xfrm>
              <a:off x="-1" y="608341"/>
              <a:ext cx="733596" cy="182880"/>
            </a:xfrm>
            <a:prstGeom prst="cube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6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" name="Google Shape;55;p8"/>
            <p:cNvSpPr/>
            <p:nvPr/>
          </p:nvSpPr>
          <p:spPr>
            <a:xfrm>
              <a:off x="0" y="952508"/>
              <a:ext cx="786403" cy="183006"/>
            </a:xfrm>
            <a:prstGeom prst="cube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6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" name="Google Shape;56;p8"/>
            <p:cNvSpPr/>
            <p:nvPr/>
          </p:nvSpPr>
          <p:spPr>
            <a:xfrm>
              <a:off x="-1" y="1304902"/>
              <a:ext cx="733596" cy="182880"/>
            </a:xfrm>
            <a:prstGeom prst="cube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6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" name="Google Shape;57;p8"/>
            <p:cNvSpPr/>
            <p:nvPr/>
          </p:nvSpPr>
          <p:spPr>
            <a:xfrm>
              <a:off x="0" y="1649603"/>
              <a:ext cx="550424" cy="183006"/>
            </a:xfrm>
            <a:prstGeom prst="cube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6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635129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95563" y="1640793"/>
            <a:ext cx="7124448" cy="2502587"/>
          </a:xfrm>
        </p:spPr>
        <p:txBody>
          <a:bodyPr>
            <a:noAutofit/>
          </a:bodyPr>
          <a:lstStyle>
            <a:lvl1pPr>
              <a:defRPr sz="38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95563" y="4433454"/>
            <a:ext cx="7123840" cy="1067248"/>
          </a:xfrm>
        </p:spPr>
        <p:txBody>
          <a:bodyPr>
            <a:norm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rgbClr val="575757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4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0629328" y="6407835"/>
            <a:ext cx="105611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93485" y="6407835"/>
            <a:ext cx="1007929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r>
              <a:rPr lang="en-GB"/>
              <a:t>Member Firms and DTTL: Insert appropriate copyright (Go Header &amp; Footer to edit this text)</a:t>
            </a:r>
            <a:endParaRPr lang="en-GB" dirty="0"/>
          </a:p>
        </p:txBody>
      </p:sp>
      <p:pic>
        <p:nvPicPr>
          <p:cNvPr id="9" name="Picture 8" descr="DEL_PRI_RGB.gif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470505" y="399577"/>
            <a:ext cx="2294400" cy="322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6161200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4128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00820" y="1685568"/>
            <a:ext cx="3696000" cy="2672126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00820" y="4357694"/>
            <a:ext cx="3696000" cy="1048554"/>
          </a:xfrm>
        </p:spPr>
        <p:txBody>
          <a:bodyPr>
            <a:norm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None/>
              <a:defRPr sz="1400" b="0">
                <a:solidFill>
                  <a:srgbClr val="575757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4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0629328" y="6407835"/>
            <a:ext cx="105611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93485" y="6407835"/>
            <a:ext cx="1007929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r>
              <a:rPr lang="en-GB"/>
              <a:t>Member Firms and DTTL: Insert appropriate copyright (Go Header &amp; Footer to edit this text)</a:t>
            </a:r>
            <a:endParaRPr lang="en-GB" dirty="0"/>
          </a:p>
        </p:txBody>
      </p:sp>
      <p:pic>
        <p:nvPicPr>
          <p:cNvPr id="8" name="Picture 7" descr="DEL_PRI_RGB.gif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470505" y="399577"/>
            <a:ext cx="2294400" cy="322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3613717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460829" y="0"/>
            <a:ext cx="7254433" cy="31432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29118" y="1093318"/>
            <a:ext cx="6505141" cy="154986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29118" y="2668126"/>
            <a:ext cx="6505141" cy="388186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600" b="0">
                <a:solidFill>
                  <a:srgbClr val="575757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8" name="Picture 7" descr="DEL_PRI_RGB.gif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72931" y="284522"/>
            <a:ext cx="2294400" cy="322531"/>
          </a:xfrm>
          <a:prstGeom prst="rect">
            <a:avLst/>
          </a:prstGeom>
        </p:spPr>
      </p:pic>
      <p:sp>
        <p:nvSpPr>
          <p:cNvPr id="14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0629328" y="6407835"/>
            <a:ext cx="105611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93485" y="6407835"/>
            <a:ext cx="1007929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r>
              <a:rPr lang="en-GB"/>
              <a:t>Member Firms and DTTL: Insert appropriate copyright (Go Header &amp; Footer to edit this text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32145589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93484" y="765175"/>
            <a:ext cx="11184000" cy="969282"/>
          </a:xfrm>
        </p:spPr>
        <p:txBody>
          <a:bodyPr>
            <a:normAutofit/>
          </a:bodyPr>
          <a:lstStyle>
            <a:lvl1pPr marL="0" indent="0">
              <a:buNone/>
              <a:defRPr sz="3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93484" y="295683"/>
            <a:ext cx="11184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4"/>
          </p:nvPr>
        </p:nvSpPr>
        <p:spPr>
          <a:xfrm>
            <a:off x="494400" y="1810800"/>
            <a:ext cx="11184000" cy="4536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93485" y="6407835"/>
            <a:ext cx="1007929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r>
              <a:rPr lang="en-GB"/>
              <a:t>Member Firms and DTTL: Insert appropriate copyright (Go Header &amp; Footer to edit this text)</a:t>
            </a:r>
            <a:endParaRPr lang="en-GB" dirty="0"/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0629328" y="6407835"/>
            <a:ext cx="105611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52120993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fac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93484" y="295683"/>
            <a:ext cx="11184000" cy="9901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4"/>
          </p:nvPr>
        </p:nvSpPr>
        <p:spPr>
          <a:xfrm>
            <a:off x="494400" y="1357200"/>
            <a:ext cx="11184000" cy="5000758"/>
          </a:xfrm>
        </p:spPr>
        <p:txBody>
          <a:bodyPr/>
          <a:lstStyle>
            <a:lvl1pPr marL="0" indent="0" algn="l">
              <a:buNone/>
              <a:defRPr/>
            </a:lvl1pPr>
            <a:lvl2pPr marL="271463" indent="-271463">
              <a:buFont typeface="Arial" pitchFamily="34" charset="0"/>
              <a:buChar char="•"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93485" y="6407835"/>
            <a:ext cx="1007929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r>
              <a:rPr lang="en-GB"/>
              <a:t>Member Firms and DTTL: Insert appropriate copyright (Go Header &amp; Footer to edit this text)</a:t>
            </a:r>
            <a:endParaRPr lang="en-GB" dirty="0"/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0629328" y="6407835"/>
            <a:ext cx="105611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69973286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22.xml"/><Relationship Id="rId26" Type="http://schemas.openxmlformats.org/officeDocument/2006/relationships/slideLayout" Target="../slideLayouts/slideLayout30.xml"/><Relationship Id="rId3" Type="http://schemas.openxmlformats.org/officeDocument/2006/relationships/slideLayout" Target="../slideLayouts/slideLayout7.xml"/><Relationship Id="rId21" Type="http://schemas.openxmlformats.org/officeDocument/2006/relationships/slideLayout" Target="../slideLayouts/slideLayout25.xml"/><Relationship Id="rId7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21.xml"/><Relationship Id="rId25" Type="http://schemas.openxmlformats.org/officeDocument/2006/relationships/slideLayout" Target="../slideLayouts/slideLayout29.xml"/><Relationship Id="rId2" Type="http://schemas.openxmlformats.org/officeDocument/2006/relationships/slideLayout" Target="../slideLayouts/slideLayout6.xml"/><Relationship Id="rId16" Type="http://schemas.openxmlformats.org/officeDocument/2006/relationships/slideLayout" Target="../slideLayouts/slideLayout20.xml"/><Relationship Id="rId20" Type="http://schemas.openxmlformats.org/officeDocument/2006/relationships/slideLayout" Target="../slideLayouts/slideLayout24.xml"/><Relationship Id="rId29" Type="http://schemas.openxmlformats.org/officeDocument/2006/relationships/slideLayout" Target="../slideLayouts/slideLayout33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24" Type="http://schemas.openxmlformats.org/officeDocument/2006/relationships/slideLayout" Target="../slideLayouts/slideLayout28.xml"/><Relationship Id="rId5" Type="http://schemas.openxmlformats.org/officeDocument/2006/relationships/slideLayout" Target="../slideLayouts/slideLayout9.xml"/><Relationship Id="rId15" Type="http://schemas.openxmlformats.org/officeDocument/2006/relationships/slideLayout" Target="../slideLayouts/slideLayout19.xml"/><Relationship Id="rId23" Type="http://schemas.openxmlformats.org/officeDocument/2006/relationships/slideLayout" Target="../slideLayouts/slideLayout27.xml"/><Relationship Id="rId28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14.xml"/><Relationship Id="rId19" Type="http://schemas.openxmlformats.org/officeDocument/2006/relationships/slideLayout" Target="../slideLayouts/slideLayout23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8.xml"/><Relationship Id="rId22" Type="http://schemas.openxmlformats.org/officeDocument/2006/relationships/slideLayout" Target="../slideLayouts/slideLayout26.xml"/><Relationship Id="rId27" Type="http://schemas.openxmlformats.org/officeDocument/2006/relationships/slideLayout" Target="../slideLayouts/slideLayout31.xml"/><Relationship Id="rId30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" name="Google Shape;11;p6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" name="Google Shape;12;p6"/>
          <p:cNvSpPr txBox="1"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R="0"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4800"/>
              <a:buFont typeface="Calibri"/>
              <a:buNone/>
              <a:defRPr sz="48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3" name="Google Shape;13;p6"/>
          <p:cNvSpPr txBox="1">
            <a:spLocks noGrp="1"/>
          </p:cNvSpPr>
          <p:nvPr>
            <p:ph type="body" idx="1"/>
          </p:nvPr>
        </p:nvSpPr>
        <p:spPr>
          <a:xfrm>
            <a:off x="1097280" y="1845734"/>
            <a:ext cx="10058400" cy="40233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rmAutofit/>
          </a:bodyPr>
          <a:lstStyle>
            <a:lvl1pPr marL="457200" marR="0" lvl="0" indent="-35560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Calibri"/>
              <a:buChar char=" "/>
              <a:defRPr sz="20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8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17500" algn="l" rtl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ts val="14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4" name="Google Shape;14;p6"/>
          <p:cNvSpPr txBox="1">
            <a:spLocks noGrp="1"/>
          </p:cNvSpPr>
          <p:nvPr>
            <p:ph type="dt" idx="10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5" name="Google Shape;15;p6"/>
          <p:cNvSpPr txBox="1">
            <a:spLocks noGrp="1"/>
          </p:cNvSpPr>
          <p:nvPr>
            <p:ph type="sldNum" idx="12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MX"/>
              <a:t>‹Nº›</a:t>
            </a:fld>
            <a:endParaRPr/>
          </a:p>
        </p:txBody>
      </p:sp>
      <p:cxnSp>
        <p:nvCxnSpPr>
          <p:cNvPr id="16" name="Google Shape;16;p6"/>
          <p:cNvCxnSpPr/>
          <p:nvPr/>
        </p:nvCxnSpPr>
        <p:spPr>
          <a:xfrm>
            <a:off x="1193532" y="1737845"/>
            <a:ext cx="9966960" cy="0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2" r:id="rId2"/>
    <p:sldLayoutId id="2147483653" r:id="rId3"/>
    <p:sldLayoutId id="2147483684" r:id="rId4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3484" y="295684"/>
            <a:ext cx="11184000" cy="151618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3484" y="1809101"/>
            <a:ext cx="11184000" cy="453650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93485" y="6407835"/>
            <a:ext cx="1007929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r>
              <a:rPr lang="en-GB"/>
              <a:t>Member Firms and DTTL: Insert appropriate copyright (Go Header &amp; Footer to edit this text)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0629328" y="6407835"/>
            <a:ext cx="105611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694323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7" r:id="rId3"/>
    <p:sldLayoutId id="2147483658" r:id="rId4"/>
    <p:sldLayoutId id="2147483659" r:id="rId5"/>
    <p:sldLayoutId id="2147483660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70" r:id="rId16"/>
    <p:sldLayoutId id="2147483671" r:id="rId17"/>
    <p:sldLayoutId id="2147483672" r:id="rId18"/>
    <p:sldLayoutId id="2147483673" r:id="rId19"/>
    <p:sldLayoutId id="2147483674" r:id="rId20"/>
    <p:sldLayoutId id="2147483675" r:id="rId21"/>
    <p:sldLayoutId id="2147483676" r:id="rId22"/>
    <p:sldLayoutId id="2147483677" r:id="rId23"/>
    <p:sldLayoutId id="2147483678" r:id="rId24"/>
    <p:sldLayoutId id="2147483679" r:id="rId25"/>
    <p:sldLayoutId id="2147483680" r:id="rId26"/>
    <p:sldLayoutId id="2147483681" r:id="rId27"/>
    <p:sldLayoutId id="2147483682" r:id="rId28"/>
    <p:sldLayoutId id="2147483683" r:id="rId29"/>
  </p:sldLayoutIdLst>
  <p:transition>
    <p:fade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sz="30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274638" indent="-274638" algn="l" defTabSz="914400" rtl="0" eaLnBrk="1" latinLnBrk="0" hangingPunct="1">
        <a:spcBef>
          <a:spcPts val="1200"/>
        </a:spcBef>
        <a:buFont typeface="Arial" pitchFamily="34" charset="0"/>
        <a:buChar char="•"/>
        <a:defRPr sz="1800" b="0" kern="1200">
          <a:solidFill>
            <a:schemeClr val="tx2"/>
          </a:solidFill>
          <a:latin typeface="+mn-lt"/>
          <a:ea typeface="+mn-ea"/>
          <a:cs typeface="+mn-cs"/>
        </a:defRPr>
      </a:lvl1pPr>
      <a:lvl2pPr marL="441325" indent="-166688" algn="l" defTabSz="914400" rtl="0" eaLnBrk="1" latinLnBrk="0" hangingPunct="1">
        <a:spcBef>
          <a:spcPts val="1200"/>
        </a:spcBef>
        <a:buFont typeface="Arial" pitchFamily="34" charset="0"/>
        <a:buChar char="−"/>
        <a:defRPr sz="1800" kern="1200">
          <a:solidFill>
            <a:schemeClr val="tx2"/>
          </a:solidFill>
          <a:latin typeface="+mn-lt"/>
          <a:ea typeface="+mn-ea"/>
          <a:cs typeface="+mn-cs"/>
        </a:defRPr>
      </a:lvl2pPr>
      <a:lvl3pPr marL="441325" indent="-166688" algn="l" defTabSz="914400" rtl="0" eaLnBrk="1" latinLnBrk="0" hangingPunct="1">
        <a:spcBef>
          <a:spcPts val="1200"/>
        </a:spcBef>
        <a:buFont typeface="Arial" pitchFamily="34" charset="0"/>
        <a:buChar char="−"/>
        <a:defRPr sz="1800" kern="1200">
          <a:solidFill>
            <a:schemeClr val="tx2"/>
          </a:solidFill>
          <a:latin typeface="+mn-lt"/>
          <a:ea typeface="+mn-ea"/>
          <a:cs typeface="+mn-cs"/>
        </a:defRPr>
      </a:lvl3pPr>
      <a:lvl4pPr marL="447675" indent="-180975" algn="l" defTabSz="914400" rtl="0" eaLnBrk="1" latinLnBrk="0" hangingPunct="1">
        <a:spcBef>
          <a:spcPts val="1200"/>
        </a:spcBef>
        <a:buFont typeface="Arial" pitchFamily="34" charset="0"/>
        <a:buChar char="−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441325" indent="-166688" algn="l" defTabSz="914400" rtl="0" eaLnBrk="1" latinLnBrk="0" hangingPunct="1">
        <a:spcBef>
          <a:spcPts val="1200"/>
        </a:spcBef>
        <a:buFont typeface="Arial" pitchFamily="34" charset="0"/>
        <a:buChar char="−"/>
        <a:defRPr sz="18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3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oleObject" Target="../embeddings/oleObject2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4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oleObject" Target="../embeddings/oleObject2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5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oleObject" Target="../embeddings/oleObject2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6.xml"/><Relationship Id="rId5" Type="http://schemas.openxmlformats.org/officeDocument/2006/relationships/image" Target="../media/image8.png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Google Shape;84;p1"/>
          <p:cNvSpPr txBox="1">
            <a:spLocks noGrp="1"/>
          </p:cNvSpPr>
          <p:nvPr>
            <p:ph type="ctrTitle"/>
          </p:nvPr>
        </p:nvSpPr>
        <p:spPr>
          <a:xfrm>
            <a:off x="3968020" y="1868457"/>
            <a:ext cx="7746460" cy="29473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/>
          <a:p>
            <a:pPr marL="0" lvl="0" indent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3200"/>
              <a:buFont typeface="Arial"/>
              <a:buNone/>
            </a:pPr>
            <a:r>
              <a:rPr lang="es-MX" sz="3200" b="1" dirty="0">
                <a:latin typeface="Arial"/>
                <a:ea typeface="Arial"/>
                <a:cs typeface="Arial"/>
                <a:sym typeface="Arial"/>
              </a:rPr>
              <a:t>Diplomado en Ciencia de Datos UNAM</a:t>
            </a:r>
            <a:br>
              <a:rPr lang="es-MX" sz="3200" b="1" dirty="0">
                <a:latin typeface="Arial"/>
                <a:ea typeface="Arial"/>
                <a:cs typeface="Arial"/>
                <a:sym typeface="Arial"/>
              </a:rPr>
            </a:br>
            <a:r>
              <a:rPr lang="es-MX" sz="3200" b="1" dirty="0">
                <a:latin typeface="Arial"/>
                <a:ea typeface="Arial"/>
                <a:cs typeface="Arial"/>
                <a:sym typeface="Arial"/>
              </a:rPr>
              <a:t>Modulo 14 </a:t>
            </a:r>
            <a:r>
              <a:rPr lang="es-MX" sz="3200" b="1" dirty="0">
                <a:latin typeface="Arial"/>
                <a:cs typeface="Arial"/>
              </a:rPr>
              <a:t>Data </a:t>
            </a:r>
            <a:r>
              <a:rPr lang="es-MX" sz="3200" b="1" dirty="0" err="1">
                <a:latin typeface="Arial"/>
                <a:cs typeface="Arial"/>
              </a:rPr>
              <a:t>Storytelling</a:t>
            </a:r>
            <a:br>
              <a:rPr lang="es-MX" sz="3200" b="1" dirty="0">
                <a:latin typeface="Arial"/>
                <a:cs typeface="Arial"/>
              </a:rPr>
            </a:br>
            <a:r>
              <a:rPr lang="es-MX" sz="3200" b="1" dirty="0">
                <a:latin typeface="Arial"/>
                <a:cs typeface="Arial"/>
                <a:sym typeface="Arial"/>
              </a:rPr>
              <a:t>Septiembre de 2023</a:t>
            </a:r>
            <a:br>
              <a:rPr lang="es-MX" sz="3200" b="1" dirty="0">
                <a:latin typeface="Arial"/>
                <a:ea typeface="Arial"/>
                <a:cs typeface="Arial"/>
                <a:sym typeface="Arial"/>
              </a:rPr>
            </a:br>
            <a:br>
              <a:rPr lang="es-MX" sz="3200" b="1" dirty="0">
                <a:latin typeface="Arial"/>
                <a:ea typeface="Arial"/>
                <a:cs typeface="Arial"/>
                <a:sym typeface="Arial"/>
              </a:rPr>
            </a:br>
            <a:br>
              <a:rPr lang="es-MX" sz="3200" b="1" dirty="0">
                <a:latin typeface="Arial"/>
                <a:ea typeface="Arial"/>
                <a:cs typeface="Arial"/>
                <a:sym typeface="Arial"/>
              </a:rPr>
            </a:br>
            <a:endParaRPr sz="3200" dirty="0"/>
          </a:p>
        </p:txBody>
      </p:sp>
      <p:pic>
        <p:nvPicPr>
          <p:cNvPr id="85" name="Google Shape;85;p1" descr="Logo&#10;&#10;Description automatically generated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536374" y="1535522"/>
            <a:ext cx="2183629" cy="244664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Google Shape;91;p2"/>
          <p:cNvSpPr txBox="1">
            <a:spLocks noGrp="1"/>
          </p:cNvSpPr>
          <p:nvPr>
            <p:ph type="body" idx="1"/>
          </p:nvPr>
        </p:nvSpPr>
        <p:spPr>
          <a:xfrm>
            <a:off x="1961383" y="1519724"/>
            <a:ext cx="9163983" cy="47126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rmAutofit/>
          </a:bodyPr>
          <a:lstStyle/>
          <a:p>
            <a:pPr>
              <a:spcBef>
                <a:spcPts val="0"/>
              </a:spcBef>
              <a:buFont typeface="NTR"/>
              <a:buAutoNum type="arabicPeriod"/>
            </a:pPr>
            <a:r>
              <a:rPr lang="es-MX" dirty="0">
                <a:latin typeface="+mn-lt"/>
              </a:rPr>
              <a:t>- Página 1 : </a:t>
            </a:r>
          </a:p>
          <a:p>
            <a:pPr marL="114300" indent="0">
              <a:spcBef>
                <a:spcPts val="0"/>
              </a:spcBef>
              <a:buNone/>
            </a:pPr>
            <a:r>
              <a:rPr lang="es-MX" dirty="0">
                <a:latin typeface="+mn-lt"/>
              </a:rPr>
              <a:t>    - La gráfica del ejercicio 1 y su respuesta a la pregunta.</a:t>
            </a:r>
          </a:p>
          <a:p>
            <a:pPr marL="114300" indent="0">
              <a:spcBef>
                <a:spcPts val="0"/>
              </a:spcBef>
              <a:buNone/>
            </a:pPr>
            <a:r>
              <a:rPr lang="es-MX" dirty="0">
                <a:latin typeface="+mn-lt"/>
              </a:rPr>
              <a:t>    - La gráfica del ejercicio 2 y su respuesta a la pregunta.</a:t>
            </a:r>
          </a:p>
          <a:p>
            <a:pPr marL="114300" indent="0">
              <a:spcBef>
                <a:spcPts val="0"/>
              </a:spcBef>
              <a:buNone/>
            </a:pPr>
            <a:r>
              <a:rPr lang="es-MX" dirty="0">
                <a:solidFill>
                  <a:srgbClr val="356FA2"/>
                </a:solidFill>
                <a:latin typeface="+mn-lt"/>
              </a:rPr>
              <a:t>2</a:t>
            </a:r>
            <a:r>
              <a:rPr lang="es-MX" dirty="0">
                <a:latin typeface="+mn-lt"/>
              </a:rPr>
              <a:t>. - Página 2 : </a:t>
            </a:r>
          </a:p>
          <a:p>
            <a:pPr marL="114300" indent="0">
              <a:spcBef>
                <a:spcPts val="0"/>
              </a:spcBef>
              <a:buNone/>
            </a:pPr>
            <a:r>
              <a:rPr lang="es-MX" dirty="0">
                <a:latin typeface="+mn-lt"/>
              </a:rPr>
              <a:t>    - La gráfica final del TFR que Ud. obtuvo y una descripción de la misma.</a:t>
            </a:r>
          </a:p>
          <a:p>
            <a:pPr>
              <a:spcBef>
                <a:spcPts val="0"/>
              </a:spcBef>
              <a:buFont typeface="NTR"/>
              <a:buAutoNum type="arabicPeriod"/>
            </a:pPr>
            <a:endParaRPr lang="es-MX" dirty="0">
              <a:latin typeface="+mn-lt"/>
            </a:endParaRPr>
          </a:p>
          <a:p>
            <a:pPr marL="182880" indent="-182880">
              <a:spcBef>
                <a:spcPts val="0"/>
              </a:spcBef>
            </a:pPr>
            <a:endParaRPr dirty="0">
              <a:solidFill>
                <a:srgbClr val="373A3C"/>
              </a:solidFill>
              <a:latin typeface="+mn-lt"/>
              <a:cs typeface="Arial"/>
            </a:endParaRPr>
          </a:p>
          <a:p>
            <a:pPr marL="182880" lvl="0" indent="-182880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NTR"/>
              <a:buChar char="+"/>
            </a:pPr>
            <a:endParaRPr dirty="0"/>
          </a:p>
        </p:txBody>
      </p:sp>
      <p:sp>
        <p:nvSpPr>
          <p:cNvPr id="92" name="Google Shape;92;p2"/>
          <p:cNvSpPr txBox="1">
            <a:spLocks noGrp="1"/>
          </p:cNvSpPr>
          <p:nvPr>
            <p:ph type="title"/>
          </p:nvPr>
        </p:nvSpPr>
        <p:spPr>
          <a:xfrm>
            <a:off x="1962418" y="823398"/>
            <a:ext cx="9163983" cy="5943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200"/>
              <a:buFont typeface="Calibri"/>
              <a:buNone/>
            </a:pPr>
            <a:r>
              <a:rPr lang="es-MX" dirty="0"/>
              <a:t>Contenido</a:t>
            </a:r>
            <a:endParaRPr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1719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>
                <a:latin typeface="+mn-lt"/>
              </a:rPr>
              <a:t>Describa lo que ve en la gráfica que acaba de obtener</a:t>
            </a:r>
            <a:endParaRPr lang="es-MX" dirty="0">
              <a:solidFill>
                <a:srgbClr val="575757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buClrTx/>
            </a:pPr>
            <a:fld id="{95CC1D26-A9BD-4BDE-BDD9-08EDBAE96860}" type="slidenum">
              <a:rPr lang="en-GB" kern="1200">
                <a:ea typeface="+mn-ea"/>
                <a:cs typeface="+mn-cs"/>
              </a:rPr>
              <a:pPr>
                <a:buClrTx/>
              </a:pPr>
              <a:t>3</a:t>
            </a:fld>
            <a:endParaRPr lang="en-GB" kern="1200" dirty="0">
              <a:ea typeface="+mn-ea"/>
              <a:cs typeface="+mn-cs"/>
            </a:endParaRPr>
          </a:p>
        </p:txBody>
      </p:sp>
      <p:graphicFrame>
        <p:nvGraphicFramePr>
          <p:cNvPr id="371718" name="Rectangle 6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2400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371718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460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Imagen 3">
            <a:extLst>
              <a:ext uri="{FF2B5EF4-FFF2-40B4-BE49-F238E27FC236}">
                <a16:creationId xmlns:a16="http://schemas.microsoft.com/office/drawing/2014/main" id="{360349A6-3269-D857-FD6E-4C5502F2929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84050" y="1223340"/>
            <a:ext cx="3792855" cy="3069908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E07216EE-8F3B-6585-EF55-46A6FFC30DB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62603" y="1194800"/>
            <a:ext cx="4186420" cy="2798104"/>
          </a:xfrm>
          <a:prstGeom prst="rect">
            <a:avLst/>
          </a:prstGeom>
        </p:spPr>
      </p:pic>
      <p:sp>
        <p:nvSpPr>
          <p:cNvPr id="9" name="CuadroTexto 8">
            <a:extLst>
              <a:ext uri="{FF2B5EF4-FFF2-40B4-BE49-F238E27FC236}">
                <a16:creationId xmlns:a16="http://schemas.microsoft.com/office/drawing/2014/main" id="{38516923-FE9A-B2FD-944C-4E7DF7FBF2B2}"/>
              </a:ext>
            </a:extLst>
          </p:cNvPr>
          <p:cNvSpPr txBox="1"/>
          <p:nvPr/>
        </p:nvSpPr>
        <p:spPr>
          <a:xfrm>
            <a:off x="846667" y="4451069"/>
            <a:ext cx="10676783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14300" indent="0">
              <a:spcBef>
                <a:spcPts val="0"/>
              </a:spcBef>
              <a:buNone/>
            </a:pPr>
            <a:r>
              <a:rPr lang="es-MX" dirty="0">
                <a:latin typeface="+mn-lt"/>
              </a:rPr>
              <a:t>- La TFR  de Congo se ha mantenido desde 1955 hasta 2020 unas 3x veces por encima de la de Alemania</a:t>
            </a:r>
          </a:p>
          <a:p>
            <a:pPr marL="114300" indent="0">
              <a:spcBef>
                <a:spcPts val="0"/>
              </a:spcBef>
              <a:buNone/>
            </a:pPr>
            <a:r>
              <a:rPr lang="es-MX" dirty="0">
                <a:latin typeface="+mn-lt"/>
              </a:rPr>
              <a:t>- La TFR de ambos países (Congo y Alemania) tuvo un máximo  entre 1966 y 1979 y comenzaron un pronunciado descenso en los años 80 </a:t>
            </a:r>
          </a:p>
          <a:p>
            <a:pPr marL="114300" indent="0">
              <a:spcBef>
                <a:spcPts val="0"/>
              </a:spcBef>
              <a:buNone/>
            </a:pPr>
            <a:r>
              <a:rPr lang="es-MX" dirty="0">
                <a:latin typeface="+mn-lt"/>
              </a:rPr>
              <a:t>- La TFR de Alemania tuvo un mínimo histórico en los años 1990-1995 con TFR=1.3 y comenzó a subir hasta llegar a un TFR=1.59 en el 2020 </a:t>
            </a:r>
          </a:p>
          <a:p>
            <a:pPr marL="114300" indent="0">
              <a:spcBef>
                <a:spcPts val="0"/>
              </a:spcBef>
              <a:buNone/>
            </a:pPr>
            <a:r>
              <a:rPr lang="es-MX" dirty="0">
                <a:latin typeface="+mn-lt"/>
              </a:rPr>
              <a:t>- A pesar de tener en general una tendencia decreciente, la TFR de Congo solo ha bajado 2.1 en 70 años </a:t>
            </a:r>
          </a:p>
          <a:p>
            <a:pPr marL="182880" indent="-182880">
              <a:spcBef>
                <a:spcPts val="0"/>
              </a:spcBef>
            </a:pPr>
            <a:endParaRPr lang="es-MX" dirty="0">
              <a:solidFill>
                <a:srgbClr val="373A3C"/>
              </a:solidFill>
              <a:latin typeface="+mn-lt"/>
              <a:cs typeface="Arial"/>
            </a:endParaRP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AF2CC1D0-9377-CEFF-141E-1BAC5B37FFE6}"/>
              </a:ext>
            </a:extLst>
          </p:cNvPr>
          <p:cNvSpPr txBox="1"/>
          <p:nvPr/>
        </p:nvSpPr>
        <p:spPr>
          <a:xfrm>
            <a:off x="493484" y="887023"/>
            <a:ext cx="60960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MX" b="1" dirty="0">
                <a:solidFill>
                  <a:srgbClr val="C00000"/>
                </a:solidFill>
                <a:latin typeface="+mn-lt"/>
              </a:rPr>
              <a:t>Ejercicio 1</a:t>
            </a:r>
            <a:endParaRPr lang="es-MX" b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0333783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1719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>
                <a:latin typeface="+mn-lt"/>
              </a:rPr>
              <a:t>Describa lo que ve en la gráfica que acaba de obtener</a:t>
            </a:r>
            <a:endParaRPr lang="es-MX" dirty="0">
              <a:solidFill>
                <a:srgbClr val="575757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buClrTx/>
            </a:pPr>
            <a:fld id="{95CC1D26-A9BD-4BDE-BDD9-08EDBAE96860}" type="slidenum">
              <a:rPr lang="en-GB" kern="1200">
                <a:ea typeface="+mn-ea"/>
                <a:cs typeface="+mn-cs"/>
              </a:rPr>
              <a:pPr>
                <a:buClrTx/>
              </a:pPr>
              <a:t>4</a:t>
            </a:fld>
            <a:endParaRPr lang="en-GB" kern="1200" dirty="0">
              <a:ea typeface="+mn-ea"/>
              <a:cs typeface="+mn-cs"/>
            </a:endParaRPr>
          </a:p>
        </p:txBody>
      </p:sp>
      <p:graphicFrame>
        <p:nvGraphicFramePr>
          <p:cNvPr id="371718" name="Rectangle 6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2400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371718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460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uadroTexto 8">
            <a:extLst>
              <a:ext uri="{FF2B5EF4-FFF2-40B4-BE49-F238E27FC236}">
                <a16:creationId xmlns:a16="http://schemas.microsoft.com/office/drawing/2014/main" id="{38516923-FE9A-B2FD-944C-4E7DF7FBF2B2}"/>
              </a:ext>
            </a:extLst>
          </p:cNvPr>
          <p:cNvSpPr txBox="1"/>
          <p:nvPr/>
        </p:nvSpPr>
        <p:spPr>
          <a:xfrm>
            <a:off x="846667" y="4451069"/>
            <a:ext cx="10676783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14300" indent="0">
              <a:spcBef>
                <a:spcPts val="0"/>
              </a:spcBef>
              <a:buNone/>
            </a:pPr>
            <a:r>
              <a:rPr lang="es-MX" dirty="0">
                <a:latin typeface="+mn-lt"/>
              </a:rPr>
              <a:t>- Los países con menor PIB tienen una mayor TFR que aquellos de menor PIB, </a:t>
            </a:r>
          </a:p>
          <a:p>
            <a:pPr marL="114300"/>
            <a:r>
              <a:rPr lang="es-MX" dirty="0">
                <a:latin typeface="+mn-lt"/>
              </a:rPr>
              <a:t>- La TFR de los 3 países (Congo, Alemania, México Yemen) tuvo un máximo  entre 1966 y 1979 y comenzaron un pronunciado descenso en los años 80. En cambio, Yemen tuvo su máximo en 1990  y a partir de ahí un descenso tan pronunciado que su TFR ahora es menor que la de Congo </a:t>
            </a:r>
          </a:p>
          <a:p>
            <a:pPr marL="114300" indent="0">
              <a:spcBef>
                <a:spcPts val="0"/>
              </a:spcBef>
              <a:buNone/>
            </a:pPr>
            <a:endParaRPr lang="es-MX" dirty="0">
              <a:latin typeface="+mn-lt"/>
            </a:endParaRP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AF2CC1D0-9377-CEFF-141E-1BAC5B37FFE6}"/>
              </a:ext>
            </a:extLst>
          </p:cNvPr>
          <p:cNvSpPr txBox="1"/>
          <p:nvPr/>
        </p:nvSpPr>
        <p:spPr>
          <a:xfrm>
            <a:off x="493484" y="887023"/>
            <a:ext cx="60960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MX" b="1" dirty="0">
                <a:solidFill>
                  <a:srgbClr val="C00000"/>
                </a:solidFill>
                <a:latin typeface="+mn-lt"/>
              </a:rPr>
              <a:t>Ejercicio 2</a:t>
            </a:r>
            <a:endParaRPr lang="es-MX" b="1" dirty="0">
              <a:solidFill>
                <a:srgbClr val="C00000"/>
              </a:solidFill>
            </a:endParaRP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481B5D67-A206-7175-4507-ABA959BBA2F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46668" y="1232900"/>
            <a:ext cx="4351866" cy="2908683"/>
          </a:xfrm>
          <a:prstGeom prst="rect">
            <a:avLst/>
          </a:prstGeom>
        </p:spPr>
      </p:pic>
      <p:pic>
        <p:nvPicPr>
          <p:cNvPr id="12" name="Imagen 11">
            <a:extLst>
              <a:ext uri="{FF2B5EF4-FFF2-40B4-BE49-F238E27FC236}">
                <a16:creationId xmlns:a16="http://schemas.microsoft.com/office/drawing/2014/main" id="{8FE4B939-BDB9-4F08-1C31-63A408F36AE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16135" y="1232900"/>
            <a:ext cx="4005791" cy="2571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7441093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1719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>
                <a:latin typeface="+mn-lt"/>
              </a:rPr>
              <a:t>Describa lo que ve en la gráfica que acaba de obtener</a:t>
            </a:r>
            <a:endParaRPr lang="es-MX" dirty="0">
              <a:solidFill>
                <a:srgbClr val="575757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buClrTx/>
            </a:pPr>
            <a:fld id="{95CC1D26-A9BD-4BDE-BDD9-08EDBAE96860}" type="slidenum">
              <a:rPr lang="en-GB" kern="1200">
                <a:ea typeface="+mn-ea"/>
                <a:cs typeface="+mn-cs"/>
              </a:rPr>
              <a:pPr>
                <a:buClrTx/>
              </a:pPr>
              <a:t>5</a:t>
            </a:fld>
            <a:endParaRPr lang="en-GB" kern="1200" dirty="0">
              <a:ea typeface="+mn-ea"/>
              <a:cs typeface="+mn-cs"/>
            </a:endParaRPr>
          </a:p>
        </p:txBody>
      </p:sp>
      <p:graphicFrame>
        <p:nvGraphicFramePr>
          <p:cNvPr id="371718" name="Rectangle 6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2400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371718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460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uadroTexto 8">
            <a:extLst>
              <a:ext uri="{FF2B5EF4-FFF2-40B4-BE49-F238E27FC236}">
                <a16:creationId xmlns:a16="http://schemas.microsoft.com/office/drawing/2014/main" id="{38516923-FE9A-B2FD-944C-4E7DF7FBF2B2}"/>
              </a:ext>
            </a:extLst>
          </p:cNvPr>
          <p:cNvSpPr txBox="1"/>
          <p:nvPr/>
        </p:nvSpPr>
        <p:spPr>
          <a:xfrm>
            <a:off x="846667" y="4451069"/>
            <a:ext cx="10676783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14300" indent="0">
              <a:spcBef>
                <a:spcPts val="0"/>
              </a:spcBef>
              <a:buNone/>
            </a:pPr>
            <a:r>
              <a:rPr lang="es-MX" dirty="0">
                <a:latin typeface="+mn-lt"/>
              </a:rPr>
              <a:t>- La TFR de México siempre se ha mantenido en un nivel “promedio” con respecto al resto de países</a:t>
            </a:r>
          </a:p>
          <a:p>
            <a:pPr marL="114300"/>
            <a:r>
              <a:rPr lang="es-MX" dirty="0">
                <a:latin typeface="+mn-lt"/>
              </a:rPr>
              <a:t>- Yemen es el país que registra el máximo histórico de TFR pero también uno de los descensos más pronunciados desde1 995 hasta colocarse en niveles medios altos de TFR a nivel mundial en el 2020  </a:t>
            </a:r>
          </a:p>
          <a:p>
            <a:pPr marL="114300" indent="0">
              <a:spcBef>
                <a:spcPts val="0"/>
              </a:spcBef>
              <a:buNone/>
            </a:pPr>
            <a:r>
              <a:rPr lang="es-MX" dirty="0">
                <a:latin typeface="+mn-lt"/>
              </a:rPr>
              <a:t>- China a pasado de tener una TFR de 6.11 normal en países poco desarrollados en 1960 vs un de 1.69 en 2020 lo que concuerda totalmente con el desarrollo </a:t>
            </a:r>
            <a:r>
              <a:rPr lang="es-ES" dirty="0">
                <a:latin typeface="+mn-lt"/>
              </a:rPr>
              <a:t>económico chino durante los últimos 60 años. </a:t>
            </a:r>
          </a:p>
          <a:p>
            <a:pPr marL="114300" indent="0">
              <a:spcBef>
                <a:spcPts val="0"/>
              </a:spcBef>
              <a:buNone/>
            </a:pPr>
            <a:r>
              <a:rPr lang="es-ES" dirty="0">
                <a:latin typeface="+mn-lt"/>
              </a:rPr>
              <a:t>- La TFR mundial ha disminuido en aproximadamente 3.5 hijos por mujer en los últimos 40 años</a:t>
            </a:r>
            <a:endParaRPr lang="es-MX" dirty="0">
              <a:latin typeface="+mn-lt"/>
            </a:endParaRP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AF2CC1D0-9377-CEFF-141E-1BAC5B37FFE6}"/>
              </a:ext>
            </a:extLst>
          </p:cNvPr>
          <p:cNvSpPr txBox="1"/>
          <p:nvPr/>
        </p:nvSpPr>
        <p:spPr>
          <a:xfrm>
            <a:off x="493484" y="887023"/>
            <a:ext cx="60960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MX" b="1" dirty="0">
                <a:solidFill>
                  <a:srgbClr val="C00000"/>
                </a:solidFill>
                <a:latin typeface="+mn-lt"/>
              </a:rPr>
              <a:t>Ejercicio 3</a:t>
            </a:r>
            <a:endParaRPr lang="es-MX" b="1" dirty="0">
              <a:solidFill>
                <a:srgbClr val="C00000"/>
              </a:solidFill>
            </a:endParaRP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DE5D1F08-A32D-658C-C7E4-65838C509B4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07069" y="1489072"/>
            <a:ext cx="2456034" cy="2674168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149C76C5-A269-2BFB-72BC-B3EADDFC4F6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57257" y="1117017"/>
            <a:ext cx="3168082" cy="3157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0567014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1719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>
                <a:latin typeface="+mn-lt"/>
              </a:rPr>
              <a:t>¿Con este análisis es posible responder a las preguntas que hicimos al principio?</a:t>
            </a:r>
            <a:br>
              <a:rPr lang="es-MX" dirty="0">
                <a:latin typeface="+mn-lt"/>
              </a:rPr>
            </a:br>
            <a:endParaRPr lang="es-MX" dirty="0">
              <a:latin typeface="+mn-lt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buClrTx/>
            </a:pPr>
            <a:fld id="{95CC1D26-A9BD-4BDE-BDD9-08EDBAE96860}" type="slidenum">
              <a:rPr lang="en-GB" kern="1200">
                <a:ea typeface="+mn-ea"/>
                <a:cs typeface="+mn-cs"/>
              </a:rPr>
              <a:pPr>
                <a:buClrTx/>
              </a:pPr>
              <a:t>6</a:t>
            </a:fld>
            <a:endParaRPr lang="en-GB" kern="1200" dirty="0">
              <a:ea typeface="+mn-ea"/>
              <a:cs typeface="+mn-cs"/>
            </a:endParaRPr>
          </a:p>
        </p:txBody>
      </p:sp>
      <p:graphicFrame>
        <p:nvGraphicFramePr>
          <p:cNvPr id="371718" name="Rectangle 6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2400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371718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460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uadroTexto 8">
            <a:extLst>
              <a:ext uri="{FF2B5EF4-FFF2-40B4-BE49-F238E27FC236}">
                <a16:creationId xmlns:a16="http://schemas.microsoft.com/office/drawing/2014/main" id="{38516923-FE9A-B2FD-944C-4E7DF7FBF2B2}"/>
              </a:ext>
            </a:extLst>
          </p:cNvPr>
          <p:cNvSpPr txBox="1"/>
          <p:nvPr/>
        </p:nvSpPr>
        <p:spPr>
          <a:xfrm>
            <a:off x="493485" y="2126969"/>
            <a:ext cx="6764566" cy="35394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14300"/>
            <a:endParaRPr lang="es-ES" dirty="0">
              <a:latin typeface="+mn-lt"/>
            </a:endParaRPr>
          </a:p>
          <a:p>
            <a:pPr marL="457200" indent="-342900">
              <a:buAutoNum type="arabicPeriod"/>
            </a:pPr>
            <a:r>
              <a:rPr lang="es-MX" dirty="0">
                <a:latin typeface="+mn-lt"/>
              </a:rPr>
              <a:t>¿Los países ricos están recuperando su TFR?</a:t>
            </a:r>
          </a:p>
          <a:p>
            <a:pPr marL="114300"/>
            <a:r>
              <a:rPr lang="es-MX" dirty="0">
                <a:solidFill>
                  <a:srgbClr val="8AB32F"/>
                </a:solidFill>
                <a:latin typeface="+mn-lt"/>
              </a:rPr>
              <a:t>No se si recuperando es la palabra más adecuada. Algunos países ricos tuvieron sus niveles más </a:t>
            </a:r>
            <a:r>
              <a:rPr lang="es-MX" dirty="0" err="1">
                <a:solidFill>
                  <a:srgbClr val="8AB32F"/>
                </a:solidFill>
                <a:latin typeface="+mn-lt"/>
              </a:rPr>
              <a:t>basjo</a:t>
            </a:r>
            <a:r>
              <a:rPr lang="es-MX" dirty="0">
                <a:solidFill>
                  <a:srgbClr val="8AB32F"/>
                </a:solidFill>
                <a:latin typeface="+mn-lt"/>
              </a:rPr>
              <a:t> de TFR en 1990-2000, pero en general su TFR oscila entre 1.3 y 1.6 </a:t>
            </a:r>
          </a:p>
          <a:p>
            <a:pPr marL="114300"/>
            <a:r>
              <a:rPr lang="es-MX" dirty="0">
                <a:latin typeface="+mn-lt"/>
              </a:rPr>
              <a:t>2. ¿Cómo es el TFR en países con un bajo PIB per cápita?</a:t>
            </a:r>
          </a:p>
          <a:p>
            <a:pPr marL="114300"/>
            <a:r>
              <a:rPr lang="es-MX" dirty="0">
                <a:solidFill>
                  <a:srgbClr val="8AB32F"/>
                </a:solidFill>
                <a:latin typeface="+mn-lt"/>
              </a:rPr>
              <a:t>La relación entre PIB y TFR es inversamente proporcional siempre </a:t>
            </a:r>
          </a:p>
          <a:p>
            <a:pPr marL="114300"/>
            <a:r>
              <a:rPr lang="es-MX" dirty="0">
                <a:latin typeface="+mn-lt"/>
              </a:rPr>
              <a:t>3. ¿Países en desarrollo como China y Brasil están estabilizando sus poblaciones?</a:t>
            </a:r>
          </a:p>
          <a:p>
            <a:pPr marL="114300"/>
            <a:r>
              <a:rPr lang="es-MX" dirty="0">
                <a:solidFill>
                  <a:srgbClr val="8AB32F"/>
                </a:solidFill>
                <a:latin typeface="+mn-lt"/>
              </a:rPr>
              <a:t>Sin duda, mucho más China que Brasil, quizá por la política del “hijo único que se implantó durante los años 80, 90 y principios del 2000”</a:t>
            </a:r>
          </a:p>
          <a:p>
            <a:pPr marL="114300"/>
            <a:r>
              <a:rPr lang="es-MX" dirty="0">
                <a:latin typeface="+mn-lt"/>
              </a:rPr>
              <a:t>4. ¿Cómo ha sido la evolución de la población en México con respecto de otros países? </a:t>
            </a:r>
          </a:p>
          <a:p>
            <a:pPr marL="114300"/>
            <a:r>
              <a:rPr lang="es-MX" dirty="0">
                <a:solidFill>
                  <a:srgbClr val="8AB32F"/>
                </a:solidFill>
                <a:latin typeface="+mn-lt"/>
              </a:rPr>
              <a:t>La TFR de México siempre se ha mantenido en un nivel “promedio” con respecto al resto de países</a:t>
            </a:r>
          </a:p>
          <a:p>
            <a:pPr marL="114300" indent="0">
              <a:spcBef>
                <a:spcPts val="0"/>
              </a:spcBef>
              <a:buNone/>
            </a:pPr>
            <a:endParaRPr lang="es-MX" dirty="0">
              <a:latin typeface="+mn-lt"/>
            </a:endParaRP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AF2CC1D0-9377-CEFF-141E-1BAC5B37FFE6}"/>
              </a:ext>
            </a:extLst>
          </p:cNvPr>
          <p:cNvSpPr txBox="1"/>
          <p:nvPr/>
        </p:nvSpPr>
        <p:spPr>
          <a:xfrm>
            <a:off x="493484" y="1716755"/>
            <a:ext cx="60960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MX" b="1" dirty="0">
                <a:solidFill>
                  <a:srgbClr val="C00000"/>
                </a:solidFill>
                <a:latin typeface="+mn-lt"/>
              </a:rPr>
              <a:t>Ejercicio 4</a:t>
            </a:r>
            <a:endParaRPr lang="es-MX" b="1" dirty="0">
              <a:solidFill>
                <a:srgbClr val="C00000"/>
              </a:solidFill>
            </a:endParaRP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149C76C5-A269-2BFB-72BC-B3EADDFC4F6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05800" y="2259246"/>
            <a:ext cx="3678466" cy="36666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7505251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AE24ar6Ue6E.AbvpSJ8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etrospect">
  <a:themeElements>
    <a:clrScheme name="Blue Warm">
      <a:dk1>
        <a:srgbClr val="000000"/>
      </a:dk1>
      <a:lt1>
        <a:srgbClr val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Deloitte Timesaver Feb 2014">
  <a:themeElements>
    <a:clrScheme name="Custom 90">
      <a:dk1>
        <a:sysClr val="windowText" lastClr="000000"/>
      </a:dk1>
      <a:lt1>
        <a:sysClr val="window" lastClr="FFFFFF"/>
      </a:lt1>
      <a:dk2>
        <a:srgbClr val="313131"/>
      </a:dk2>
      <a:lt2>
        <a:srgbClr val="FFFFFF"/>
      </a:lt2>
      <a:accent1>
        <a:srgbClr val="002776"/>
      </a:accent1>
      <a:accent2>
        <a:srgbClr val="81BC00"/>
      </a:accent2>
      <a:accent3>
        <a:srgbClr val="00A1DE"/>
      </a:accent3>
      <a:accent4>
        <a:srgbClr val="3C8A2E"/>
      </a:accent4>
      <a:accent5>
        <a:srgbClr val="72C7E7"/>
      </a:accent5>
      <a:accent6>
        <a:srgbClr val="BDD203"/>
      </a:accent6>
      <a:hlink>
        <a:srgbClr val="00A1DE"/>
      </a:hlink>
      <a:folHlink>
        <a:srgbClr val="72C7E7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83</TotalTime>
  <Words>582</Words>
  <Application>Microsoft Office PowerPoint</Application>
  <PresentationFormat>Panorámica</PresentationFormat>
  <Paragraphs>43</Paragraphs>
  <Slides>6</Slides>
  <Notes>6</Notes>
  <HiddenSlides>0</HiddenSlides>
  <MMClips>0</MMClips>
  <ScaleCrop>false</ScaleCrop>
  <HeadingPairs>
    <vt:vector size="8" baseType="variant">
      <vt:variant>
        <vt:lpstr>Fuentes usadas</vt:lpstr>
      </vt:variant>
      <vt:variant>
        <vt:i4>5</vt:i4>
      </vt:variant>
      <vt:variant>
        <vt:lpstr>Tema</vt:lpstr>
      </vt:variant>
      <vt:variant>
        <vt:i4>2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6</vt:i4>
      </vt:variant>
    </vt:vector>
  </HeadingPairs>
  <TitlesOfParts>
    <vt:vector size="14" baseType="lpstr">
      <vt:lpstr>Arial</vt:lpstr>
      <vt:lpstr>Calibri</vt:lpstr>
      <vt:lpstr>Noto Sans Symbols</vt:lpstr>
      <vt:lpstr>NTR</vt:lpstr>
      <vt:lpstr>Wingdings</vt:lpstr>
      <vt:lpstr>Retrospect</vt:lpstr>
      <vt:lpstr>Deloitte Timesaver Feb 2014</vt:lpstr>
      <vt:lpstr>think-cell Slide</vt:lpstr>
      <vt:lpstr>Diplomado en Ciencia de Datos UNAM Modulo 14 Data Storytelling Septiembre de 2023   </vt:lpstr>
      <vt:lpstr>Contenido</vt:lpstr>
      <vt:lpstr>Describa lo que ve en la gráfica que acaba de obtener</vt:lpstr>
      <vt:lpstr>Describa lo que ve en la gráfica que acaba de obtener</vt:lpstr>
      <vt:lpstr>Describa lo que ve en la gráfica que acaba de obtener</vt:lpstr>
      <vt:lpstr>¿Con este análisis es posible responder a las preguntas que hicimos al principio?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plomado en Ciencia de Datos  UNAM Propuesta de Proyecto Final Agosto de 2023</dc:title>
  <dc:creator>Sergio Ibarra</dc:creator>
  <cp:lastModifiedBy>Sergio Ibarra</cp:lastModifiedBy>
  <cp:revision>101</cp:revision>
  <dcterms:created xsi:type="dcterms:W3CDTF">2023-08-25T18:15:54Z</dcterms:created>
  <dcterms:modified xsi:type="dcterms:W3CDTF">2023-09-30T01:26:02Z</dcterms:modified>
</cp:coreProperties>
</file>